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221.xml" ContentType="application/vnd.openxmlformats-officedocument.presentationml.tags+xml"/>
  <Override PartName="/ppt/tags/tag222.xml" ContentType="application/vnd.openxmlformats-officedocument.presentationml.tags+xml"/>
  <Override PartName="/ppt/notesSlides/notesSlide1.xml" ContentType="application/vnd.openxmlformats-officedocument.presentationml.notesSlide+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98" r:id="rId4"/>
  </p:sldMasterIdLst>
  <p:notesMasterIdLst>
    <p:notesMasterId r:id="rId42"/>
  </p:notesMasterIdLst>
  <p:handoutMasterIdLst>
    <p:handoutMasterId r:id="rId43"/>
  </p:handoutMasterIdLst>
  <p:sldIdLst>
    <p:sldId id="353" r:id="rId5"/>
    <p:sldId id="332" r:id="rId6"/>
    <p:sldId id="372" r:id="rId7"/>
    <p:sldId id="375" r:id="rId8"/>
    <p:sldId id="330" r:id="rId9"/>
    <p:sldId id="331" r:id="rId10"/>
    <p:sldId id="351" r:id="rId11"/>
    <p:sldId id="333" r:id="rId12"/>
    <p:sldId id="334" r:id="rId13"/>
    <p:sldId id="335" r:id="rId14"/>
    <p:sldId id="336" r:id="rId15"/>
    <p:sldId id="354" r:id="rId16"/>
    <p:sldId id="337" r:id="rId17"/>
    <p:sldId id="338" r:id="rId18"/>
    <p:sldId id="339" r:id="rId19"/>
    <p:sldId id="341" r:id="rId20"/>
    <p:sldId id="349" r:id="rId21"/>
    <p:sldId id="350" r:id="rId22"/>
    <p:sldId id="376" r:id="rId23"/>
    <p:sldId id="380" r:id="rId24"/>
    <p:sldId id="355" r:id="rId25"/>
    <p:sldId id="357" r:id="rId26"/>
    <p:sldId id="369" r:id="rId27"/>
    <p:sldId id="370" r:id="rId28"/>
    <p:sldId id="358" r:id="rId29"/>
    <p:sldId id="371" r:id="rId30"/>
    <p:sldId id="359" r:id="rId31"/>
    <p:sldId id="360" r:id="rId32"/>
    <p:sldId id="361" r:id="rId33"/>
    <p:sldId id="362" r:id="rId34"/>
    <p:sldId id="363" r:id="rId35"/>
    <p:sldId id="364" r:id="rId36"/>
    <p:sldId id="365" r:id="rId37"/>
    <p:sldId id="378" r:id="rId38"/>
    <p:sldId id="379" r:id="rId39"/>
    <p:sldId id="367" r:id="rId40"/>
    <p:sldId id="368" r:id="rId41"/>
  </p:sldIdLst>
  <p:sldSz cx="9906000" cy="6858000" type="A4"/>
  <p:notesSz cx="6797675" cy="9874250"/>
  <p:custDataLst>
    <p:tags r:id="rId44"/>
  </p:custDataLst>
  <p:defaultTextStyle>
    <a:defPPr>
      <a:defRPr lang="de-DE"/>
    </a:defPPr>
    <a:lvl1pPr algn="l" defTabSz="957263" rtl="0" fontAlgn="base">
      <a:spcBef>
        <a:spcPct val="0"/>
      </a:spcBef>
      <a:spcAft>
        <a:spcPct val="0"/>
      </a:spcAft>
      <a:defRPr sz="1900" kern="1200">
        <a:solidFill>
          <a:schemeClr val="tx1"/>
        </a:solidFill>
        <a:latin typeface="Arial" pitchFamily="34" charset="0"/>
        <a:ea typeface="+mn-ea"/>
        <a:cs typeface="Arial" pitchFamily="34" charset="0"/>
      </a:defRPr>
    </a:lvl1pPr>
    <a:lvl2pPr marL="477838" indent="-20638" algn="l" defTabSz="957263" rtl="0" fontAlgn="base">
      <a:spcBef>
        <a:spcPct val="0"/>
      </a:spcBef>
      <a:spcAft>
        <a:spcPct val="0"/>
      </a:spcAft>
      <a:defRPr sz="1900" kern="1200">
        <a:solidFill>
          <a:schemeClr val="tx1"/>
        </a:solidFill>
        <a:latin typeface="Arial" pitchFamily="34" charset="0"/>
        <a:ea typeface="+mn-ea"/>
        <a:cs typeface="Arial" pitchFamily="34" charset="0"/>
      </a:defRPr>
    </a:lvl2pPr>
    <a:lvl3pPr marL="957263" indent="-42863" algn="l" defTabSz="957263" rtl="0" fontAlgn="base">
      <a:spcBef>
        <a:spcPct val="0"/>
      </a:spcBef>
      <a:spcAft>
        <a:spcPct val="0"/>
      </a:spcAft>
      <a:defRPr sz="1900" kern="1200">
        <a:solidFill>
          <a:schemeClr val="tx1"/>
        </a:solidFill>
        <a:latin typeface="Arial" pitchFamily="34" charset="0"/>
        <a:ea typeface="+mn-ea"/>
        <a:cs typeface="Arial" pitchFamily="34" charset="0"/>
      </a:defRPr>
    </a:lvl3pPr>
    <a:lvl4pPr marL="1435100" indent="-63500" algn="l" defTabSz="957263" rtl="0" fontAlgn="base">
      <a:spcBef>
        <a:spcPct val="0"/>
      </a:spcBef>
      <a:spcAft>
        <a:spcPct val="0"/>
      </a:spcAft>
      <a:defRPr sz="1900" kern="1200">
        <a:solidFill>
          <a:schemeClr val="tx1"/>
        </a:solidFill>
        <a:latin typeface="Arial" pitchFamily="34" charset="0"/>
        <a:ea typeface="+mn-ea"/>
        <a:cs typeface="Arial" pitchFamily="34" charset="0"/>
      </a:defRPr>
    </a:lvl4pPr>
    <a:lvl5pPr marL="1914525" indent="-85725" algn="l" defTabSz="957263" rtl="0" fontAlgn="base">
      <a:spcBef>
        <a:spcPct val="0"/>
      </a:spcBef>
      <a:spcAft>
        <a:spcPct val="0"/>
      </a:spcAft>
      <a:defRPr sz="1900" kern="1200">
        <a:solidFill>
          <a:schemeClr val="tx1"/>
        </a:solidFill>
        <a:latin typeface="Arial" pitchFamily="34" charset="0"/>
        <a:ea typeface="+mn-ea"/>
        <a:cs typeface="Arial" pitchFamily="34" charset="0"/>
      </a:defRPr>
    </a:lvl5pPr>
    <a:lvl6pPr marL="2286000" algn="l" defTabSz="914400" rtl="0" eaLnBrk="1" latinLnBrk="0" hangingPunct="1">
      <a:defRPr sz="1900" kern="1200">
        <a:solidFill>
          <a:schemeClr val="tx1"/>
        </a:solidFill>
        <a:latin typeface="Arial" pitchFamily="34" charset="0"/>
        <a:ea typeface="+mn-ea"/>
        <a:cs typeface="Arial" pitchFamily="34" charset="0"/>
      </a:defRPr>
    </a:lvl6pPr>
    <a:lvl7pPr marL="2743200" algn="l" defTabSz="914400" rtl="0" eaLnBrk="1" latinLnBrk="0" hangingPunct="1">
      <a:defRPr sz="1900" kern="1200">
        <a:solidFill>
          <a:schemeClr val="tx1"/>
        </a:solidFill>
        <a:latin typeface="Arial" pitchFamily="34" charset="0"/>
        <a:ea typeface="+mn-ea"/>
        <a:cs typeface="Arial" pitchFamily="34" charset="0"/>
      </a:defRPr>
    </a:lvl7pPr>
    <a:lvl8pPr marL="3200400" algn="l" defTabSz="914400" rtl="0" eaLnBrk="1" latinLnBrk="0" hangingPunct="1">
      <a:defRPr sz="1900" kern="1200">
        <a:solidFill>
          <a:schemeClr val="tx1"/>
        </a:solidFill>
        <a:latin typeface="Arial" pitchFamily="34" charset="0"/>
        <a:ea typeface="+mn-ea"/>
        <a:cs typeface="Arial" pitchFamily="34" charset="0"/>
      </a:defRPr>
    </a:lvl8pPr>
    <a:lvl9pPr marL="3657600" algn="l" defTabSz="914400" rtl="0" eaLnBrk="1" latinLnBrk="0" hangingPunct="1">
      <a:defRPr sz="1900"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15:clr>
            <a:srgbClr val="A4A3A4"/>
          </p15:clr>
        </p15:guide>
        <p15:guide id="2" pos="6239">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85B3"/>
    <a:srgbClr val="A2BFAF"/>
    <a:srgbClr val="AF1C63"/>
    <a:srgbClr val="6A9529"/>
    <a:srgbClr val="ACB7B2"/>
    <a:srgbClr val="000000"/>
    <a:srgbClr val="00A0D6"/>
    <a:srgbClr val="005B7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868" autoAdjust="0"/>
    <p:restoredTop sz="94621" autoAdjust="0"/>
  </p:normalViewPr>
  <p:slideViewPr>
    <p:cSldViewPr snapToGrid="0">
      <p:cViewPr varScale="1">
        <p:scale>
          <a:sx n="89" d="100"/>
          <a:sy n="89" d="100"/>
        </p:scale>
        <p:origin x="970" y="77"/>
      </p:cViewPr>
      <p:guideLst>
        <p:guide orient="horz"/>
        <p:guide pos="6239"/>
      </p:guideLst>
    </p:cSldViewPr>
  </p:slideViewPr>
  <p:notesTextViewPr>
    <p:cViewPr>
      <p:scale>
        <a:sx n="100" d="100"/>
        <a:sy n="100" d="100"/>
      </p:scale>
      <p:origin x="0" y="0"/>
    </p:cViewPr>
  </p:notesTextViewPr>
  <p:sorterViewPr>
    <p:cViewPr>
      <p:scale>
        <a:sx n="100" d="100"/>
        <a:sy n="100" d="100"/>
      </p:scale>
      <p:origin x="0" y="16188"/>
    </p:cViewPr>
  </p:sorterViewPr>
  <p:notesViewPr>
    <p:cSldViewPr snapToGrid="0">
      <p:cViewPr varScale="1">
        <p:scale>
          <a:sx n="71" d="100"/>
          <a:sy n="71" d="100"/>
        </p:scale>
        <p:origin x="-3372" y="-120"/>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797675" cy="493713"/>
          </a:xfrm>
          <a:prstGeom prst="rect">
            <a:avLst/>
          </a:prstGeom>
        </p:spPr>
        <p:txBody>
          <a:bodyPr vert="horz" lIns="34625" tIns="34625" rIns="242374" bIns="34625" rtlCol="0" anchor="ctr"/>
          <a:lstStyle>
            <a:lvl1pPr algn="r" defTabSz="957756" fontAlgn="auto">
              <a:spcBef>
                <a:spcPts val="0"/>
              </a:spcBef>
              <a:spcAft>
                <a:spcPts val="0"/>
              </a:spcAft>
              <a:defRPr sz="1500" dirty="0"/>
            </a:lvl1pPr>
          </a:lstStyle>
          <a:p>
            <a:pPr>
              <a:defRPr/>
            </a:pPr>
            <a:endParaRPr lang="de-DE"/>
          </a:p>
        </p:txBody>
      </p:sp>
      <p:sp>
        <p:nvSpPr>
          <p:cNvPr id="4" name="Footer Placeholder 3"/>
          <p:cNvSpPr>
            <a:spLocks noGrp="1"/>
          </p:cNvSpPr>
          <p:nvPr>
            <p:ph type="ftr" sz="quarter" idx="2"/>
          </p:nvPr>
        </p:nvSpPr>
        <p:spPr>
          <a:xfrm>
            <a:off x="0" y="9378950"/>
            <a:ext cx="2946400" cy="493713"/>
          </a:xfrm>
          <a:prstGeom prst="rect">
            <a:avLst/>
          </a:prstGeom>
        </p:spPr>
        <p:txBody>
          <a:bodyPr vert="horz" lIns="87947" tIns="43973" rIns="87947" bIns="43973" rtlCol="0" anchor="b"/>
          <a:lstStyle>
            <a:lvl1pPr algn="l" defTabSz="957756" fontAlgn="auto">
              <a:spcBef>
                <a:spcPts val="0"/>
              </a:spcBef>
              <a:spcAft>
                <a:spcPts val="0"/>
              </a:spcAft>
              <a:defRPr sz="800" dirty="0" smtClean="0"/>
            </a:lvl1pPr>
          </a:lstStyle>
          <a:p>
            <a:pPr>
              <a:defRPr/>
            </a:pPr>
            <a:r>
              <a:rPr lang="de-DE"/>
              <a:t>© 2012 Capgemini. All </a:t>
            </a:r>
            <a:r>
              <a:rPr lang="de-DE" err="1"/>
              <a:t>rights</a:t>
            </a:r>
            <a:r>
              <a:rPr lang="de-DE"/>
              <a:t> </a:t>
            </a:r>
            <a:r>
              <a:rPr lang="de-DE" err="1"/>
              <a:t>reserved</a:t>
            </a:r>
            <a:r>
              <a:rPr lang="de-DE"/>
              <a:t>.</a:t>
            </a:r>
          </a:p>
        </p:txBody>
      </p:sp>
      <p:sp>
        <p:nvSpPr>
          <p:cNvPr id="5" name="Slide Number Placeholder 4"/>
          <p:cNvSpPr>
            <a:spLocks noGrp="1"/>
          </p:cNvSpPr>
          <p:nvPr>
            <p:ph type="sldNum" sz="quarter" idx="3"/>
          </p:nvPr>
        </p:nvSpPr>
        <p:spPr>
          <a:xfrm>
            <a:off x="3849688" y="9378950"/>
            <a:ext cx="2946400" cy="493713"/>
          </a:xfrm>
          <a:prstGeom prst="rect">
            <a:avLst/>
          </a:prstGeom>
        </p:spPr>
        <p:txBody>
          <a:bodyPr vert="horz" lIns="87947" tIns="43973" rIns="87947" bIns="43973" rtlCol="0" anchor="b"/>
          <a:lstStyle>
            <a:lvl1pPr algn="r" defTabSz="957756" fontAlgn="auto">
              <a:spcBef>
                <a:spcPts val="0"/>
              </a:spcBef>
              <a:spcAft>
                <a:spcPts val="0"/>
              </a:spcAft>
              <a:defRPr sz="800" smtClean="0"/>
            </a:lvl1pPr>
          </a:lstStyle>
          <a:p>
            <a:pPr>
              <a:defRPr/>
            </a:pPr>
            <a:fld id="{A87973D1-1040-44B5-976B-3C9718DD949D}" type="slidenum">
              <a:rPr lang="de-DE"/>
              <a:pPr>
                <a:defRPr/>
              </a:pPr>
              <a:t>‹#›</a:t>
            </a:fld>
            <a:endParaRPr lang="de-DE" dirty="0"/>
          </a:p>
        </p:txBody>
      </p:sp>
    </p:spTree>
    <p:extLst>
      <p:ext uri="{BB962C8B-B14F-4D97-AF65-F5344CB8AC3E}">
        <p14:creationId xmlns:p14="http://schemas.microsoft.com/office/powerpoint/2010/main" val="21715324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5264" tIns="47632" rIns="95264" bIns="47632" rtlCol="0"/>
          <a:lstStyle>
            <a:lvl1pPr algn="l" defTabSz="957756" fontAlgn="auto">
              <a:spcBef>
                <a:spcPts val="0"/>
              </a:spcBef>
              <a:spcAft>
                <a:spcPts val="0"/>
              </a:spcAft>
              <a:defRPr sz="1300">
                <a:latin typeface="+mn-lt"/>
                <a:cs typeface="+mn-cs"/>
              </a:defRPr>
            </a:lvl1pPr>
          </a:lstStyle>
          <a:p>
            <a:pPr>
              <a:defRPr/>
            </a:pPr>
            <a:endParaRPr lang="en-US"/>
          </a:p>
        </p:txBody>
      </p:sp>
      <p:sp>
        <p:nvSpPr>
          <p:cNvPr id="3" name="Date Placeholder 2"/>
          <p:cNvSpPr>
            <a:spLocks noGrp="1"/>
          </p:cNvSpPr>
          <p:nvPr>
            <p:ph type="dt" idx="1"/>
          </p:nvPr>
        </p:nvSpPr>
        <p:spPr>
          <a:xfrm>
            <a:off x="3849688" y="0"/>
            <a:ext cx="2946400" cy="493713"/>
          </a:xfrm>
          <a:prstGeom prst="rect">
            <a:avLst/>
          </a:prstGeom>
        </p:spPr>
        <p:txBody>
          <a:bodyPr vert="horz" lIns="95264" tIns="47632" rIns="95264" bIns="47632" rtlCol="0"/>
          <a:lstStyle>
            <a:lvl1pPr algn="r" defTabSz="957756" fontAlgn="auto">
              <a:spcBef>
                <a:spcPts val="0"/>
              </a:spcBef>
              <a:spcAft>
                <a:spcPts val="0"/>
              </a:spcAft>
              <a:defRPr sz="1300" smtClean="0">
                <a:latin typeface="+mn-lt"/>
                <a:cs typeface="+mn-cs"/>
              </a:defRPr>
            </a:lvl1pPr>
          </a:lstStyle>
          <a:p>
            <a:pPr>
              <a:defRPr/>
            </a:pPr>
            <a:fld id="{6577AF28-C840-4B30-BC9D-C54210D07537}" type="datetimeFigureOut">
              <a:rPr lang="en-US"/>
              <a:pPr>
                <a:defRPr/>
              </a:pPr>
              <a:t>5/30/2017</a:t>
            </a:fld>
            <a:endParaRPr lang="en-US"/>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pPr lvl="0"/>
            <a:endParaRPr lang="de-DE" noProof="0"/>
          </a:p>
        </p:txBody>
      </p:sp>
      <p:sp>
        <p:nvSpPr>
          <p:cNvPr id="5" name="Notes Placeholder 4"/>
          <p:cNvSpPr>
            <a:spLocks noGrp="1"/>
          </p:cNvSpPr>
          <p:nvPr>
            <p:ph type="body" sz="quarter" idx="3"/>
          </p:nvPr>
        </p:nvSpPr>
        <p:spPr>
          <a:xfrm>
            <a:off x="679450" y="4689475"/>
            <a:ext cx="5438775" cy="4443413"/>
          </a:xfrm>
          <a:prstGeom prst="rect">
            <a:avLst/>
          </a:prstGeom>
        </p:spPr>
        <p:txBody>
          <a:bodyPr vert="horz" lIns="95264" tIns="47632" rIns="95264" bIns="47632"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378950"/>
            <a:ext cx="2946400" cy="493713"/>
          </a:xfrm>
          <a:prstGeom prst="rect">
            <a:avLst/>
          </a:prstGeom>
        </p:spPr>
        <p:txBody>
          <a:bodyPr vert="horz" lIns="95264" tIns="47632" rIns="95264" bIns="47632" rtlCol="0" anchor="b"/>
          <a:lstStyle>
            <a:lvl1pPr algn="l" defTabSz="957756" fontAlgn="auto">
              <a:spcBef>
                <a:spcPts val="0"/>
              </a:spcBef>
              <a:spcAft>
                <a:spcPts val="0"/>
              </a:spcAft>
              <a:defRPr sz="13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49688" y="9378950"/>
            <a:ext cx="2946400" cy="493713"/>
          </a:xfrm>
          <a:prstGeom prst="rect">
            <a:avLst/>
          </a:prstGeom>
        </p:spPr>
        <p:txBody>
          <a:bodyPr vert="horz" lIns="95264" tIns="47632" rIns="95264" bIns="47632" rtlCol="0" anchor="b"/>
          <a:lstStyle>
            <a:lvl1pPr algn="r" defTabSz="957756" fontAlgn="auto">
              <a:spcBef>
                <a:spcPts val="0"/>
              </a:spcBef>
              <a:spcAft>
                <a:spcPts val="0"/>
              </a:spcAft>
              <a:defRPr sz="1300" smtClean="0">
                <a:latin typeface="+mn-lt"/>
                <a:cs typeface="+mn-cs"/>
              </a:defRPr>
            </a:lvl1pPr>
          </a:lstStyle>
          <a:p>
            <a:pPr>
              <a:defRPr/>
            </a:pPr>
            <a:fld id="{497827E8-327E-461D-AC16-1C6B547110C3}" type="slidenum">
              <a:rPr lang="en-US"/>
              <a:pPr>
                <a:defRPr/>
              </a:pPr>
              <a:t>‹#›</a:t>
            </a:fld>
            <a:endParaRPr lang="en-US"/>
          </a:p>
        </p:txBody>
      </p:sp>
    </p:spTree>
    <p:extLst>
      <p:ext uri="{BB962C8B-B14F-4D97-AF65-F5344CB8AC3E}">
        <p14:creationId xmlns:p14="http://schemas.microsoft.com/office/powerpoint/2010/main" val="2453981269"/>
      </p:ext>
    </p:extLst>
  </p:cSld>
  <p:clrMap bg1="lt1" tx1="dk1" bg2="lt2" tx2="dk2" accent1="accent1" accent2="accent2" accent3="accent3" accent4="accent4" accent5="accent5" accent6="accent6" hlink="hlink" folHlink="folHlink"/>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p:spPr>
      </p:sp>
      <p:sp>
        <p:nvSpPr>
          <p:cNvPr id="3891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89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57263" fontAlgn="base">
              <a:spcBef>
                <a:spcPct val="0"/>
              </a:spcBef>
              <a:spcAft>
                <a:spcPct val="0"/>
              </a:spcAft>
            </a:pPr>
            <a:fld id="{5DAF9320-4AD7-4D23-A0B3-A232472D4AEF}" type="slidenum">
              <a:rPr lang="en-US"/>
              <a:pPr defTabSz="957263" fontAlgn="base">
                <a:spcBef>
                  <a:spcPct val="0"/>
                </a:spcBef>
                <a:spcAft>
                  <a:spcPct val="0"/>
                </a:spcAft>
              </a:pPr>
              <a:t>1</a:t>
            </a:fld>
            <a:endParaRPr lang="en-US"/>
          </a:p>
        </p:txBody>
      </p:sp>
    </p:spTree>
    <p:extLst>
      <p:ext uri="{BB962C8B-B14F-4D97-AF65-F5344CB8AC3E}">
        <p14:creationId xmlns:p14="http://schemas.microsoft.com/office/powerpoint/2010/main" val="256723646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13" Type="http://schemas.openxmlformats.org/officeDocument/2006/relationships/image" Target="../media/image6.png"/><Relationship Id="rId3" Type="http://schemas.openxmlformats.org/officeDocument/2006/relationships/tags" Target="../tags/tag12.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image" Target="../media/image4.emf"/><Relationship Id="rId5" Type="http://schemas.openxmlformats.org/officeDocument/2006/relationships/tags" Target="../tags/tag14.xml"/><Relationship Id="rId10" Type="http://schemas.openxmlformats.org/officeDocument/2006/relationships/image" Target="../media/image1.emf"/><Relationship Id="rId4" Type="http://schemas.openxmlformats.org/officeDocument/2006/relationships/tags" Target="../tags/tag13.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oleObject" Target="../embeddings/oleObject18.bin"/><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image" Target="../media/image2.png"/><Relationship Id="rId2" Type="http://schemas.openxmlformats.org/officeDocument/2006/relationships/tags" Target="../tags/tag70.xml"/><Relationship Id="rId1" Type="http://schemas.openxmlformats.org/officeDocument/2006/relationships/vmlDrawing" Target="../drawings/vmlDrawing11.vml"/><Relationship Id="rId6" Type="http://schemas.openxmlformats.org/officeDocument/2006/relationships/tags" Target="../tags/tag74.xml"/><Relationship Id="rId11" Type="http://schemas.openxmlformats.org/officeDocument/2006/relationships/image" Target="../media/image1.emf"/><Relationship Id="rId5" Type="http://schemas.openxmlformats.org/officeDocument/2006/relationships/tags" Target="../tags/tag73.xml"/><Relationship Id="rId10" Type="http://schemas.openxmlformats.org/officeDocument/2006/relationships/oleObject" Target="../embeddings/oleObject17.bin"/><Relationship Id="rId4" Type="http://schemas.openxmlformats.org/officeDocument/2006/relationships/tags" Target="../tags/tag72.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tags" Target="../tags/tag88.xml"/><Relationship Id="rId18" Type="http://schemas.openxmlformats.org/officeDocument/2006/relationships/slideMaster" Target="../slideMasters/slideMaster1.xml"/><Relationship Id="rId26" Type="http://schemas.openxmlformats.org/officeDocument/2006/relationships/image" Target="../media/image11.png"/><Relationship Id="rId3" Type="http://schemas.openxmlformats.org/officeDocument/2006/relationships/tags" Target="../tags/tag78.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82.xml"/><Relationship Id="rId12" Type="http://schemas.openxmlformats.org/officeDocument/2006/relationships/tags" Target="../tags/tag87.xml"/><Relationship Id="rId17" Type="http://schemas.openxmlformats.org/officeDocument/2006/relationships/tags" Target="../tags/tag92.xml"/><Relationship Id="rId25" Type="http://schemas.openxmlformats.org/officeDocument/2006/relationships/hyperlink" Target="http://www.linkedin.com/company/capgemini" TargetMode="External"/><Relationship Id="rId33" Type="http://schemas.openxmlformats.org/officeDocument/2006/relationships/oleObject" Target="../embeddings/oleObject20.bin"/><Relationship Id="rId2" Type="http://schemas.openxmlformats.org/officeDocument/2006/relationships/tags" Target="../tags/tag77.xml"/><Relationship Id="rId16" Type="http://schemas.openxmlformats.org/officeDocument/2006/relationships/tags" Target="../tags/tag91.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2.vml"/><Relationship Id="rId6" Type="http://schemas.openxmlformats.org/officeDocument/2006/relationships/tags" Target="../tags/tag81.xml"/><Relationship Id="rId11" Type="http://schemas.openxmlformats.org/officeDocument/2006/relationships/tags" Target="../tags/tag86.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80.xml"/><Relationship Id="rId15" Type="http://schemas.openxmlformats.org/officeDocument/2006/relationships/tags" Target="../tags/tag90.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85.xml"/><Relationship Id="rId19" Type="http://schemas.openxmlformats.org/officeDocument/2006/relationships/oleObject" Target="../embeddings/oleObject19.bin"/><Relationship Id="rId31" Type="http://schemas.openxmlformats.org/officeDocument/2006/relationships/hyperlink" Target="http://www.slideshare.net/capgemini" TargetMode="External"/><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tags" Target="../tags/tag89.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10.xml"/><Relationship Id="rId13" Type="http://schemas.openxmlformats.org/officeDocument/2006/relationships/tags" Target="../tags/tag115.xml"/><Relationship Id="rId18" Type="http://schemas.openxmlformats.org/officeDocument/2006/relationships/slideMaster" Target="../slideMasters/slideMaster2.xml"/><Relationship Id="rId26" Type="http://schemas.openxmlformats.org/officeDocument/2006/relationships/image" Target="../media/image11.png"/><Relationship Id="rId3" Type="http://schemas.openxmlformats.org/officeDocument/2006/relationships/tags" Target="../tags/tag105.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109.xml"/><Relationship Id="rId12" Type="http://schemas.openxmlformats.org/officeDocument/2006/relationships/tags" Target="../tags/tag114.xml"/><Relationship Id="rId17" Type="http://schemas.openxmlformats.org/officeDocument/2006/relationships/tags" Target="../tags/tag119.xml"/><Relationship Id="rId25" Type="http://schemas.openxmlformats.org/officeDocument/2006/relationships/hyperlink" Target="http://www.linkedin.com/company/capgemini" TargetMode="External"/><Relationship Id="rId33" Type="http://schemas.openxmlformats.org/officeDocument/2006/relationships/oleObject" Target="../embeddings/oleObject23.bin"/><Relationship Id="rId2" Type="http://schemas.openxmlformats.org/officeDocument/2006/relationships/tags" Target="../tags/tag104.xml"/><Relationship Id="rId16" Type="http://schemas.openxmlformats.org/officeDocument/2006/relationships/tags" Target="../tags/tag118.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4.vml"/><Relationship Id="rId6" Type="http://schemas.openxmlformats.org/officeDocument/2006/relationships/tags" Target="../tags/tag108.xml"/><Relationship Id="rId11" Type="http://schemas.openxmlformats.org/officeDocument/2006/relationships/tags" Target="../tags/tag113.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107.xml"/><Relationship Id="rId15" Type="http://schemas.openxmlformats.org/officeDocument/2006/relationships/tags" Target="../tags/tag117.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112.xml"/><Relationship Id="rId19" Type="http://schemas.openxmlformats.org/officeDocument/2006/relationships/oleObject" Target="../embeddings/oleObject22.bin"/><Relationship Id="rId31" Type="http://schemas.openxmlformats.org/officeDocument/2006/relationships/hyperlink" Target="http://www.slideshare.net/capgemini" TargetMode="External"/><Relationship Id="rId4" Type="http://schemas.openxmlformats.org/officeDocument/2006/relationships/tags" Target="../tags/tag106.xml"/><Relationship Id="rId9" Type="http://schemas.openxmlformats.org/officeDocument/2006/relationships/tags" Target="../tags/tag111.xml"/><Relationship Id="rId14" Type="http://schemas.openxmlformats.org/officeDocument/2006/relationships/tags" Target="../tags/tag116.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26.xml"/><Relationship Id="rId13" Type="http://schemas.openxmlformats.org/officeDocument/2006/relationships/tags" Target="../tags/tag131.xml"/><Relationship Id="rId18" Type="http://schemas.openxmlformats.org/officeDocument/2006/relationships/image" Target="../media/image9.png"/><Relationship Id="rId26" Type="http://schemas.openxmlformats.org/officeDocument/2006/relationships/hyperlink" Target="http://www.youtube.com/capgemini" TargetMode="External"/><Relationship Id="rId3" Type="http://schemas.openxmlformats.org/officeDocument/2006/relationships/tags" Target="../tags/tag121.xml"/><Relationship Id="rId21" Type="http://schemas.openxmlformats.org/officeDocument/2006/relationships/image" Target="../media/image10.png"/><Relationship Id="rId7" Type="http://schemas.openxmlformats.org/officeDocument/2006/relationships/tags" Target="../tags/tag125.xml"/><Relationship Id="rId12" Type="http://schemas.openxmlformats.org/officeDocument/2006/relationships/tags" Target="../tags/tag130.xml"/><Relationship Id="rId17" Type="http://schemas.openxmlformats.org/officeDocument/2006/relationships/image" Target="../media/image1.emf"/><Relationship Id="rId25" Type="http://schemas.openxmlformats.org/officeDocument/2006/relationships/image" Target="../media/image12.png"/><Relationship Id="rId2" Type="http://schemas.openxmlformats.org/officeDocument/2006/relationships/tags" Target="../tags/tag120.xml"/><Relationship Id="rId16" Type="http://schemas.openxmlformats.org/officeDocument/2006/relationships/oleObject" Target="../embeddings/oleObject24.bin"/><Relationship Id="rId20" Type="http://schemas.openxmlformats.org/officeDocument/2006/relationships/hyperlink" Target="http://www.facebook.com/Capgemini" TargetMode="External"/><Relationship Id="rId29" Type="http://schemas.openxmlformats.org/officeDocument/2006/relationships/image" Target="../media/image14.gif"/><Relationship Id="rId1" Type="http://schemas.openxmlformats.org/officeDocument/2006/relationships/vmlDrawing" Target="../drawings/vmlDrawing15.vml"/><Relationship Id="rId6" Type="http://schemas.openxmlformats.org/officeDocument/2006/relationships/tags" Target="../tags/tag124.xml"/><Relationship Id="rId11" Type="http://schemas.openxmlformats.org/officeDocument/2006/relationships/tags" Target="../tags/tag129.xml"/><Relationship Id="rId24" Type="http://schemas.openxmlformats.org/officeDocument/2006/relationships/hyperlink" Target="http://www.twitter.com/capgemini" TargetMode="External"/><Relationship Id="rId5" Type="http://schemas.openxmlformats.org/officeDocument/2006/relationships/tags" Target="../tags/tag123.xml"/><Relationship Id="rId15" Type="http://schemas.openxmlformats.org/officeDocument/2006/relationships/slideMaster" Target="../slideMasters/slideMaster2.xml"/><Relationship Id="rId23" Type="http://schemas.openxmlformats.org/officeDocument/2006/relationships/image" Target="../media/image11.png"/><Relationship Id="rId28" Type="http://schemas.openxmlformats.org/officeDocument/2006/relationships/hyperlink" Target="http://www.slideshare.net/capgemini" TargetMode="External"/><Relationship Id="rId10" Type="http://schemas.openxmlformats.org/officeDocument/2006/relationships/tags" Target="../tags/tag128.xml"/><Relationship Id="rId19" Type="http://schemas.openxmlformats.org/officeDocument/2006/relationships/image" Target="../media/image4.emf"/><Relationship Id="rId31" Type="http://schemas.openxmlformats.org/officeDocument/2006/relationships/image" Target="../media/image15.png"/><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tags" Target="../tags/tag132.xml"/><Relationship Id="rId22" Type="http://schemas.openxmlformats.org/officeDocument/2006/relationships/hyperlink" Target="http://www.linkedin.com/company/capgemini" TargetMode="External"/><Relationship Id="rId27" Type="http://schemas.openxmlformats.org/officeDocument/2006/relationships/image" Target="../media/image13.png"/><Relationship Id="rId30" Type="http://schemas.openxmlformats.org/officeDocument/2006/relationships/oleObject" Target="../embeddings/oleObject25.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39.xml"/><Relationship Id="rId13" Type="http://schemas.openxmlformats.org/officeDocument/2006/relationships/tags" Target="../tags/tag144.xml"/><Relationship Id="rId18" Type="http://schemas.openxmlformats.org/officeDocument/2006/relationships/image" Target="../media/image4.emf"/><Relationship Id="rId26" Type="http://schemas.openxmlformats.org/officeDocument/2006/relationships/image" Target="../media/image13.png"/><Relationship Id="rId3" Type="http://schemas.openxmlformats.org/officeDocument/2006/relationships/tags" Target="../tags/tag134.xml"/><Relationship Id="rId21" Type="http://schemas.openxmlformats.org/officeDocument/2006/relationships/hyperlink" Target="http://www.linkedin.com/company/capgemini" TargetMode="External"/><Relationship Id="rId7" Type="http://schemas.openxmlformats.org/officeDocument/2006/relationships/tags" Target="../tags/tag138.xml"/><Relationship Id="rId12" Type="http://schemas.openxmlformats.org/officeDocument/2006/relationships/tags" Target="../tags/tag143.xml"/><Relationship Id="rId17" Type="http://schemas.openxmlformats.org/officeDocument/2006/relationships/image" Target="../media/image9.png"/><Relationship Id="rId25" Type="http://schemas.openxmlformats.org/officeDocument/2006/relationships/hyperlink" Target="http://www.youtube.com/capgemini" TargetMode="External"/><Relationship Id="rId2" Type="http://schemas.openxmlformats.org/officeDocument/2006/relationships/tags" Target="../tags/tag133.xml"/><Relationship Id="rId16" Type="http://schemas.openxmlformats.org/officeDocument/2006/relationships/image" Target="../media/image1.emf"/><Relationship Id="rId20" Type="http://schemas.openxmlformats.org/officeDocument/2006/relationships/image" Target="../media/image10.png"/><Relationship Id="rId29" Type="http://schemas.openxmlformats.org/officeDocument/2006/relationships/oleObject" Target="../embeddings/oleObject27.bin"/><Relationship Id="rId1" Type="http://schemas.openxmlformats.org/officeDocument/2006/relationships/vmlDrawing" Target="../drawings/vmlDrawing16.vml"/><Relationship Id="rId6" Type="http://schemas.openxmlformats.org/officeDocument/2006/relationships/tags" Target="../tags/tag137.xml"/><Relationship Id="rId11" Type="http://schemas.openxmlformats.org/officeDocument/2006/relationships/tags" Target="../tags/tag142.xml"/><Relationship Id="rId24" Type="http://schemas.openxmlformats.org/officeDocument/2006/relationships/image" Target="../media/image12.png"/><Relationship Id="rId5" Type="http://schemas.openxmlformats.org/officeDocument/2006/relationships/tags" Target="../tags/tag136.xml"/><Relationship Id="rId15" Type="http://schemas.openxmlformats.org/officeDocument/2006/relationships/oleObject" Target="../embeddings/oleObject26.bin"/><Relationship Id="rId23" Type="http://schemas.openxmlformats.org/officeDocument/2006/relationships/hyperlink" Target="http://www.twitter.com/capgemini" TargetMode="External"/><Relationship Id="rId28" Type="http://schemas.openxmlformats.org/officeDocument/2006/relationships/image" Target="../media/image14.gif"/><Relationship Id="rId10" Type="http://schemas.openxmlformats.org/officeDocument/2006/relationships/tags" Target="../tags/tag141.xml"/><Relationship Id="rId19" Type="http://schemas.openxmlformats.org/officeDocument/2006/relationships/hyperlink" Target="http://www.facebook.com/Capgemini" TargetMode="External"/><Relationship Id="rId4" Type="http://schemas.openxmlformats.org/officeDocument/2006/relationships/tags" Target="../tags/tag135.xml"/><Relationship Id="rId9" Type="http://schemas.openxmlformats.org/officeDocument/2006/relationships/tags" Target="../tags/tag140.xml"/><Relationship Id="rId14" Type="http://schemas.openxmlformats.org/officeDocument/2006/relationships/slideMaster" Target="../slideMasters/slideMaster2.xml"/><Relationship Id="rId22" Type="http://schemas.openxmlformats.org/officeDocument/2006/relationships/image" Target="../media/image11.png"/><Relationship Id="rId27" Type="http://schemas.openxmlformats.org/officeDocument/2006/relationships/hyperlink" Target="http://www.slideshare.net/capgemini" TargetMode="Externa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147.xml"/><Relationship Id="rId7" Type="http://schemas.openxmlformats.org/officeDocument/2006/relationships/image" Target="../media/image1.emf"/><Relationship Id="rId2" Type="http://schemas.openxmlformats.org/officeDocument/2006/relationships/tags" Target="../tags/tag146.xml"/><Relationship Id="rId1" Type="http://schemas.openxmlformats.org/officeDocument/2006/relationships/vmlDrawing" Target="../drawings/vmlDrawing18.vml"/><Relationship Id="rId6" Type="http://schemas.openxmlformats.org/officeDocument/2006/relationships/oleObject" Target="../embeddings/oleObject29.bin"/><Relationship Id="rId5" Type="http://schemas.openxmlformats.org/officeDocument/2006/relationships/slideMaster" Target="../slideMasters/slideMaster3.xml"/><Relationship Id="rId4" Type="http://schemas.openxmlformats.org/officeDocument/2006/relationships/tags" Target="../tags/tag148.xml"/><Relationship Id="rId9" Type="http://schemas.openxmlformats.org/officeDocument/2006/relationships/oleObject" Target="../embeddings/oleObject30.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50.xml"/><Relationship Id="rId7" Type="http://schemas.openxmlformats.org/officeDocument/2006/relationships/image" Target="../media/image1.emf"/><Relationship Id="rId2" Type="http://schemas.openxmlformats.org/officeDocument/2006/relationships/tags" Target="../tags/tag149.xml"/><Relationship Id="rId1" Type="http://schemas.openxmlformats.org/officeDocument/2006/relationships/vmlDrawing" Target="../drawings/vmlDrawing19.vml"/><Relationship Id="rId6" Type="http://schemas.openxmlformats.org/officeDocument/2006/relationships/oleObject" Target="../embeddings/oleObject31.bin"/><Relationship Id="rId5" Type="http://schemas.openxmlformats.org/officeDocument/2006/relationships/slideMaster" Target="../slideMasters/slideMaster3.xml"/><Relationship Id="rId4" Type="http://schemas.openxmlformats.org/officeDocument/2006/relationships/tags" Target="../tags/tag151.xml"/><Relationship Id="rId9" Type="http://schemas.openxmlformats.org/officeDocument/2006/relationships/oleObject" Target="../embeddings/oleObject32.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62.xml"/><Relationship Id="rId7" Type="http://schemas.openxmlformats.org/officeDocument/2006/relationships/slideMaster" Target="../slideMasters/slideMaster4.xml"/><Relationship Id="rId12" Type="http://schemas.openxmlformats.org/officeDocument/2006/relationships/image" Target="../media/image5.png"/><Relationship Id="rId2" Type="http://schemas.openxmlformats.org/officeDocument/2006/relationships/tags" Target="../tags/tag161.xml"/><Relationship Id="rId1" Type="http://schemas.openxmlformats.org/officeDocument/2006/relationships/vmlDrawing" Target="../drawings/vmlDrawing21.vml"/><Relationship Id="rId6" Type="http://schemas.openxmlformats.org/officeDocument/2006/relationships/tags" Target="../tags/tag165.xml"/><Relationship Id="rId11" Type="http://schemas.openxmlformats.org/officeDocument/2006/relationships/image" Target="../media/image4.emf"/><Relationship Id="rId5" Type="http://schemas.openxmlformats.org/officeDocument/2006/relationships/tags" Target="../tags/tag164.xml"/><Relationship Id="rId10" Type="http://schemas.openxmlformats.org/officeDocument/2006/relationships/image" Target="../media/image1.emf"/><Relationship Id="rId4" Type="http://schemas.openxmlformats.org/officeDocument/2006/relationships/tags" Target="../tags/tag163.xml"/><Relationship Id="rId9" Type="http://schemas.openxmlformats.org/officeDocument/2006/relationships/oleObject" Target="../embeddings/oleObject34.bin"/></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67.xml"/><Relationship Id="rId7" Type="http://schemas.openxmlformats.org/officeDocument/2006/relationships/slideMaster" Target="../slideMasters/slideMaster4.xml"/><Relationship Id="rId12" Type="http://schemas.openxmlformats.org/officeDocument/2006/relationships/image" Target="../media/image4.emf"/><Relationship Id="rId2" Type="http://schemas.openxmlformats.org/officeDocument/2006/relationships/tags" Target="../tags/tag166.xml"/><Relationship Id="rId1" Type="http://schemas.openxmlformats.org/officeDocument/2006/relationships/vmlDrawing" Target="../drawings/vmlDrawing22.vml"/><Relationship Id="rId6" Type="http://schemas.openxmlformats.org/officeDocument/2006/relationships/tags" Target="../tags/tag170.xml"/><Relationship Id="rId11" Type="http://schemas.openxmlformats.org/officeDocument/2006/relationships/image" Target="../media/image5.png"/><Relationship Id="rId5" Type="http://schemas.openxmlformats.org/officeDocument/2006/relationships/tags" Target="../tags/tag169.xml"/><Relationship Id="rId10" Type="http://schemas.openxmlformats.org/officeDocument/2006/relationships/image" Target="../media/image1.emf"/><Relationship Id="rId4" Type="http://schemas.openxmlformats.org/officeDocument/2006/relationships/tags" Target="../tags/tag168.xml"/><Relationship Id="rId9" Type="http://schemas.openxmlformats.org/officeDocument/2006/relationships/oleObject" Target="../embeddings/oleObject35.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7.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5.png"/><Relationship Id="rId5" Type="http://schemas.openxmlformats.org/officeDocument/2006/relationships/tags" Target="../tags/tag19.xml"/><Relationship Id="rId10" Type="http://schemas.openxmlformats.org/officeDocument/2006/relationships/image" Target="../media/image1.emf"/><Relationship Id="rId4" Type="http://schemas.openxmlformats.org/officeDocument/2006/relationships/tags" Target="../tags/tag18.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77.xml"/><Relationship Id="rId13" Type="http://schemas.openxmlformats.org/officeDocument/2006/relationships/image" Target="../media/image1.emf"/><Relationship Id="rId3" Type="http://schemas.openxmlformats.org/officeDocument/2006/relationships/tags" Target="../tags/tag172.xml"/><Relationship Id="rId7" Type="http://schemas.openxmlformats.org/officeDocument/2006/relationships/tags" Target="../tags/tag176.xml"/><Relationship Id="rId12" Type="http://schemas.openxmlformats.org/officeDocument/2006/relationships/oleObject" Target="../embeddings/oleObject36.bin"/><Relationship Id="rId2" Type="http://schemas.openxmlformats.org/officeDocument/2006/relationships/tags" Target="../tags/tag171.xml"/><Relationship Id="rId16" Type="http://schemas.openxmlformats.org/officeDocument/2006/relationships/oleObject" Target="../embeddings/oleObject37.bin"/><Relationship Id="rId1" Type="http://schemas.openxmlformats.org/officeDocument/2006/relationships/vmlDrawing" Target="../drawings/vmlDrawing23.vml"/><Relationship Id="rId6" Type="http://schemas.openxmlformats.org/officeDocument/2006/relationships/tags" Target="../tags/tag175.xml"/><Relationship Id="rId11" Type="http://schemas.openxmlformats.org/officeDocument/2006/relationships/slideMaster" Target="../slideMasters/slideMaster4.xml"/><Relationship Id="rId5" Type="http://schemas.openxmlformats.org/officeDocument/2006/relationships/tags" Target="../tags/tag174.xml"/><Relationship Id="rId15" Type="http://schemas.openxmlformats.org/officeDocument/2006/relationships/image" Target="../media/image8.jpeg"/><Relationship Id="rId10" Type="http://schemas.openxmlformats.org/officeDocument/2006/relationships/tags" Target="../tags/tag179.xml"/><Relationship Id="rId4" Type="http://schemas.openxmlformats.org/officeDocument/2006/relationships/tags" Target="../tags/tag173.xml"/><Relationship Id="rId9" Type="http://schemas.openxmlformats.org/officeDocument/2006/relationships/tags" Target="../tags/tag178.xml"/><Relationship Id="rId14"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86.xml"/><Relationship Id="rId13" Type="http://schemas.openxmlformats.org/officeDocument/2006/relationships/image" Target="../media/image2.png"/><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image" Target="../media/image1.emf"/><Relationship Id="rId2" Type="http://schemas.openxmlformats.org/officeDocument/2006/relationships/tags" Target="../tags/tag180.xml"/><Relationship Id="rId1" Type="http://schemas.openxmlformats.org/officeDocument/2006/relationships/vmlDrawing" Target="../drawings/vmlDrawing24.vml"/><Relationship Id="rId6" Type="http://schemas.openxmlformats.org/officeDocument/2006/relationships/tags" Target="../tags/tag184.xml"/><Relationship Id="rId11" Type="http://schemas.openxmlformats.org/officeDocument/2006/relationships/oleObject" Target="../embeddings/oleObject38.bin"/><Relationship Id="rId5" Type="http://schemas.openxmlformats.org/officeDocument/2006/relationships/tags" Target="../tags/tag183.xml"/><Relationship Id="rId10" Type="http://schemas.openxmlformats.org/officeDocument/2006/relationships/slideMaster" Target="../slideMasters/slideMaster4.xml"/><Relationship Id="rId4" Type="http://schemas.openxmlformats.org/officeDocument/2006/relationships/tags" Target="../tags/tag182.xml"/><Relationship Id="rId9" Type="http://schemas.openxmlformats.org/officeDocument/2006/relationships/tags" Target="../tags/tag187.xml"/><Relationship Id="rId14" Type="http://schemas.openxmlformats.org/officeDocument/2006/relationships/oleObject" Target="../embeddings/oleObject39.bin"/></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94.xml"/><Relationship Id="rId13" Type="http://schemas.openxmlformats.org/officeDocument/2006/relationships/image" Target="../media/image2.png"/><Relationship Id="rId3" Type="http://schemas.openxmlformats.org/officeDocument/2006/relationships/tags" Target="../tags/tag189.xml"/><Relationship Id="rId7" Type="http://schemas.openxmlformats.org/officeDocument/2006/relationships/tags" Target="../tags/tag193.xml"/><Relationship Id="rId12" Type="http://schemas.openxmlformats.org/officeDocument/2006/relationships/image" Target="../media/image1.emf"/><Relationship Id="rId2" Type="http://schemas.openxmlformats.org/officeDocument/2006/relationships/tags" Target="../tags/tag188.xml"/><Relationship Id="rId1" Type="http://schemas.openxmlformats.org/officeDocument/2006/relationships/vmlDrawing" Target="../drawings/vmlDrawing25.vml"/><Relationship Id="rId6" Type="http://schemas.openxmlformats.org/officeDocument/2006/relationships/tags" Target="../tags/tag192.xml"/><Relationship Id="rId11" Type="http://schemas.openxmlformats.org/officeDocument/2006/relationships/oleObject" Target="../embeddings/oleObject40.bin"/><Relationship Id="rId5" Type="http://schemas.openxmlformats.org/officeDocument/2006/relationships/tags" Target="../tags/tag191.xml"/><Relationship Id="rId10" Type="http://schemas.openxmlformats.org/officeDocument/2006/relationships/slideMaster" Target="../slideMasters/slideMaster4.xml"/><Relationship Id="rId4" Type="http://schemas.openxmlformats.org/officeDocument/2006/relationships/tags" Target="../tags/tag190.xml"/><Relationship Id="rId9" Type="http://schemas.openxmlformats.org/officeDocument/2006/relationships/tags" Target="../tags/tag195.xml"/><Relationship Id="rId14" Type="http://schemas.openxmlformats.org/officeDocument/2006/relationships/oleObject" Target="../embeddings/oleObject41.bin"/></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02.xml"/><Relationship Id="rId13" Type="http://schemas.openxmlformats.org/officeDocument/2006/relationships/image" Target="../media/image2.png"/><Relationship Id="rId3" Type="http://schemas.openxmlformats.org/officeDocument/2006/relationships/tags" Target="../tags/tag197.xml"/><Relationship Id="rId7" Type="http://schemas.openxmlformats.org/officeDocument/2006/relationships/tags" Target="../tags/tag201.xml"/><Relationship Id="rId12" Type="http://schemas.openxmlformats.org/officeDocument/2006/relationships/image" Target="../media/image1.emf"/><Relationship Id="rId2" Type="http://schemas.openxmlformats.org/officeDocument/2006/relationships/tags" Target="../tags/tag196.xml"/><Relationship Id="rId1" Type="http://schemas.openxmlformats.org/officeDocument/2006/relationships/vmlDrawing" Target="../drawings/vmlDrawing26.vml"/><Relationship Id="rId6" Type="http://schemas.openxmlformats.org/officeDocument/2006/relationships/tags" Target="../tags/tag200.xml"/><Relationship Id="rId11" Type="http://schemas.openxmlformats.org/officeDocument/2006/relationships/oleObject" Target="../embeddings/oleObject42.bin"/><Relationship Id="rId5" Type="http://schemas.openxmlformats.org/officeDocument/2006/relationships/tags" Target="../tags/tag199.xml"/><Relationship Id="rId10" Type="http://schemas.openxmlformats.org/officeDocument/2006/relationships/slideMaster" Target="../slideMasters/slideMaster4.xml"/><Relationship Id="rId4" Type="http://schemas.openxmlformats.org/officeDocument/2006/relationships/tags" Target="../tags/tag198.xml"/><Relationship Id="rId9" Type="http://schemas.openxmlformats.org/officeDocument/2006/relationships/tags" Target="../tags/tag203.xml"/><Relationship Id="rId14" Type="http://schemas.openxmlformats.org/officeDocument/2006/relationships/oleObject" Target="../embeddings/oleObject43.bin"/></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10.xml"/><Relationship Id="rId13" Type="http://schemas.openxmlformats.org/officeDocument/2006/relationships/image" Target="../media/image2.png"/><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1.emf"/><Relationship Id="rId2" Type="http://schemas.openxmlformats.org/officeDocument/2006/relationships/tags" Target="../tags/tag204.xml"/><Relationship Id="rId1" Type="http://schemas.openxmlformats.org/officeDocument/2006/relationships/vmlDrawing" Target="../drawings/vmlDrawing27.vml"/><Relationship Id="rId6" Type="http://schemas.openxmlformats.org/officeDocument/2006/relationships/tags" Target="../tags/tag208.xml"/><Relationship Id="rId11" Type="http://schemas.openxmlformats.org/officeDocument/2006/relationships/oleObject" Target="../embeddings/oleObject44.bin"/><Relationship Id="rId5" Type="http://schemas.openxmlformats.org/officeDocument/2006/relationships/tags" Target="../tags/tag207.xml"/><Relationship Id="rId10" Type="http://schemas.openxmlformats.org/officeDocument/2006/relationships/slideMaster" Target="../slideMasters/slideMaster4.xml"/><Relationship Id="rId4" Type="http://schemas.openxmlformats.org/officeDocument/2006/relationships/tags" Target="../tags/tag206.xml"/><Relationship Id="rId9" Type="http://schemas.openxmlformats.org/officeDocument/2006/relationships/tags" Target="../tags/tag211.xml"/><Relationship Id="rId14" Type="http://schemas.openxmlformats.org/officeDocument/2006/relationships/oleObject" Target="../embeddings/oleObject45.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18.xml"/><Relationship Id="rId13" Type="http://schemas.openxmlformats.org/officeDocument/2006/relationships/image" Target="../media/image2.png"/><Relationship Id="rId3" Type="http://schemas.openxmlformats.org/officeDocument/2006/relationships/tags" Target="../tags/tag213.xml"/><Relationship Id="rId7" Type="http://schemas.openxmlformats.org/officeDocument/2006/relationships/tags" Target="../tags/tag217.xml"/><Relationship Id="rId12" Type="http://schemas.openxmlformats.org/officeDocument/2006/relationships/image" Target="../media/image1.emf"/><Relationship Id="rId2" Type="http://schemas.openxmlformats.org/officeDocument/2006/relationships/tags" Target="../tags/tag212.xml"/><Relationship Id="rId1" Type="http://schemas.openxmlformats.org/officeDocument/2006/relationships/vmlDrawing" Target="../drawings/vmlDrawing28.vml"/><Relationship Id="rId6" Type="http://schemas.openxmlformats.org/officeDocument/2006/relationships/tags" Target="../tags/tag216.xml"/><Relationship Id="rId11" Type="http://schemas.openxmlformats.org/officeDocument/2006/relationships/oleObject" Target="../embeddings/oleObject46.bin"/><Relationship Id="rId5" Type="http://schemas.openxmlformats.org/officeDocument/2006/relationships/tags" Target="../tags/tag215.xml"/><Relationship Id="rId10" Type="http://schemas.openxmlformats.org/officeDocument/2006/relationships/slideMaster" Target="../slideMasters/slideMaster4.xml"/><Relationship Id="rId4" Type="http://schemas.openxmlformats.org/officeDocument/2006/relationships/tags" Target="../tags/tag214.xml"/><Relationship Id="rId9" Type="http://schemas.openxmlformats.org/officeDocument/2006/relationships/tags" Target="../tags/tag219.xml"/><Relationship Id="rId14" Type="http://schemas.openxmlformats.org/officeDocument/2006/relationships/oleObject" Target="../embeddings/oleObject4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image" Target="../media/image1.emf"/><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oleObject" Target="../embeddings/oleObject4.bin"/><Relationship Id="rId2" Type="http://schemas.openxmlformats.org/officeDocument/2006/relationships/tags" Target="../tags/tag21.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5.xml"/><Relationship Id="rId11" Type="http://schemas.openxmlformats.org/officeDocument/2006/relationships/slideMaster" Target="../slideMasters/slideMaster1.xml"/><Relationship Id="rId5" Type="http://schemas.openxmlformats.org/officeDocument/2006/relationships/tags" Target="../tags/tag24.xml"/><Relationship Id="rId15" Type="http://schemas.openxmlformats.org/officeDocument/2006/relationships/image" Target="../media/image8.jpeg"/><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oleObject" Target="../embeddings/oleObject7.bin"/><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image" Target="../media/image2.png"/><Relationship Id="rId2" Type="http://schemas.openxmlformats.org/officeDocument/2006/relationships/tags" Target="../tags/tag30.xml"/><Relationship Id="rId1" Type="http://schemas.openxmlformats.org/officeDocument/2006/relationships/vmlDrawing" Target="../drawings/vmlDrawing5.vml"/><Relationship Id="rId6" Type="http://schemas.openxmlformats.org/officeDocument/2006/relationships/tags" Target="../tags/tag34.xml"/><Relationship Id="rId11" Type="http://schemas.openxmlformats.org/officeDocument/2006/relationships/image" Target="../media/image1.emf"/><Relationship Id="rId5" Type="http://schemas.openxmlformats.org/officeDocument/2006/relationships/tags" Target="../tags/tag33.xml"/><Relationship Id="rId10" Type="http://schemas.openxmlformats.org/officeDocument/2006/relationships/oleObject" Target="../embeddings/oleObject6.bin"/><Relationship Id="rId4" Type="http://schemas.openxmlformats.org/officeDocument/2006/relationships/tags" Target="../tags/tag32.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2.png"/><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tags" Target="../tags/tag41.xml"/><Relationship Id="rId11" Type="http://schemas.openxmlformats.org/officeDocument/2006/relationships/oleObject" Target="../embeddings/oleObject8.bin"/><Relationship Id="rId5" Type="http://schemas.openxmlformats.org/officeDocument/2006/relationships/tags" Target="../tags/tag40.xml"/><Relationship Id="rId10" Type="http://schemas.openxmlformats.org/officeDocument/2006/relationships/slideMaster" Target="../slideMasters/slideMaster1.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image" Target="../media/image2.pn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tags" Target="../tags/tag49.xml"/><Relationship Id="rId11" Type="http://schemas.openxmlformats.org/officeDocument/2006/relationships/oleObject" Target="../embeddings/oleObject10.bin"/><Relationship Id="rId5" Type="http://schemas.openxmlformats.org/officeDocument/2006/relationships/tags" Target="../tags/tag48.xml"/><Relationship Id="rId10" Type="http://schemas.openxmlformats.org/officeDocument/2006/relationships/slideMaster" Target="../slideMasters/slideMaster1.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image" Target="../media/image2.png"/><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tags" Target="../tags/tag57.xml"/><Relationship Id="rId11" Type="http://schemas.openxmlformats.org/officeDocument/2006/relationships/oleObject" Target="../embeddings/oleObject12.bin"/><Relationship Id="rId5" Type="http://schemas.openxmlformats.org/officeDocument/2006/relationships/tags" Target="../tags/tag56.xml"/><Relationship Id="rId10" Type="http://schemas.openxmlformats.org/officeDocument/2006/relationships/slideMaster" Target="../slideMasters/slideMaster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2.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9.vml"/><Relationship Id="rId6" Type="http://schemas.openxmlformats.org/officeDocument/2006/relationships/tags" Target="../tags/tag65.xml"/><Relationship Id="rId11" Type="http://schemas.openxmlformats.org/officeDocument/2006/relationships/oleObject" Target="../embeddings/oleObject14.bin"/><Relationship Id="rId5" Type="http://schemas.openxmlformats.org/officeDocument/2006/relationships/tags" Target="../tags/tag64.xml"/><Relationship Id="rId10" Type="http://schemas.openxmlformats.org/officeDocument/2006/relationships/slideMaster" Target="../slideMasters/slideMaster1.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cstate="print"/>
          <a:srcRect l="240" t="24" r="259" b="533"/>
          <a:stretch>
            <a:fillRect/>
          </a:stretch>
        </p:blipFill>
        <p:spPr bwMode="auto">
          <a:xfrm>
            <a:off x="0" y="1323975"/>
            <a:ext cx="9906000" cy="5534025"/>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17"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569075" y="6521450"/>
            <a:ext cx="300196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userDrawn="1">
            <p:custDataLst>
              <p:tags r:id="rId6"/>
            </p:custDataLst>
          </p:nvPr>
        </p:nvPicPr>
        <p:blipFill>
          <a:blip r:embed="rId12" cstate="print"/>
          <a:srcRect/>
          <a:stretch>
            <a:fillRect/>
          </a:stretch>
        </p:blipFill>
        <p:spPr bwMode="auto">
          <a:xfrm>
            <a:off x="467379" y="652463"/>
            <a:ext cx="3001962" cy="695325"/>
          </a:xfrm>
          <a:prstGeom prst="rect">
            <a:avLst/>
          </a:prstGeom>
          <a:noFill/>
          <a:ln w="9525">
            <a:noFill/>
            <a:miter lim="800000"/>
            <a:headEnd/>
            <a:tailEnd/>
          </a:ln>
        </p:spPr>
      </p:pic>
      <p:sp>
        <p:nvSpPr>
          <p:cNvPr id="2" name="Title 1"/>
          <p:cNvSpPr>
            <a:spLocks noGrp="1"/>
          </p:cNvSpPr>
          <p:nvPr>
            <p:ph type="ctrTitle"/>
          </p:nvPr>
        </p:nvSpPr>
        <p:spPr>
          <a:xfrm>
            <a:off x="0" y="2256613"/>
            <a:ext cx="4540683"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
        <p:nvSpPr>
          <p:cNvPr id="11" name="TextBox 10"/>
          <p:cNvSpPr txBox="1"/>
          <p:nvPr userDrawn="1"/>
        </p:nvSpPr>
        <p:spPr>
          <a:xfrm>
            <a:off x="4092622" y="609600"/>
            <a:ext cx="1920911" cy="707886"/>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b="1" dirty="0" smtClean="0">
                <a:solidFill>
                  <a:schemeClr val="accent5"/>
                </a:solidFill>
              </a:rPr>
              <a:t>AppsTwo PBS</a:t>
            </a:r>
          </a:p>
          <a:p>
            <a:pPr algn="ctr"/>
            <a:r>
              <a:rPr lang="en-US" sz="2000" b="1" dirty="0" smtClean="0">
                <a:solidFill>
                  <a:schemeClr val="accent5"/>
                </a:solidFill>
              </a:rPr>
              <a:t>Oracle+</a:t>
            </a:r>
          </a:p>
        </p:txBody>
      </p:sp>
      <p:pic>
        <p:nvPicPr>
          <p:cNvPr id="12" name="Picture 11" descr="Skill Academy Logo.png"/>
          <p:cNvPicPr>
            <a:picLocks noChangeAspect="1"/>
          </p:cNvPicPr>
          <p:nvPr userDrawn="1"/>
        </p:nvPicPr>
        <p:blipFill>
          <a:blip r:embed="rId13" cstate="print"/>
          <a:stretch>
            <a:fillRect/>
          </a:stretch>
        </p:blipFill>
        <p:spPr>
          <a:xfrm>
            <a:off x="6731416" y="213060"/>
            <a:ext cx="2767851" cy="1258764"/>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0209"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510" name="think-cell Slide" r:id="rId10" imgW="360" imgH="360" progId="">
                  <p:embed/>
                </p:oleObj>
              </mc:Choice>
              <mc:Fallback>
                <p:oleObj name="think-cell Slide" r:id="rId10" imgW="360" imgH="360" progId="">
                  <p:embed/>
                  <p:pic>
                    <p:nvPicPr>
                      <p:cNvPr id="0" name="Picture 1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lvl1pPr eaLnBrk="0" hangingPunct="0">
              <a:defRPr sz="1900">
                <a:solidFill>
                  <a:schemeClr val="tx1"/>
                </a:solidFill>
                <a:latin typeface="Arial" panose="020B0604020202020204" pitchFamily="34" charset="0"/>
                <a:cs typeface="Arial" panose="020B0604020202020204" pitchFamily="34" charset="0"/>
              </a:defRPr>
            </a:lvl1pPr>
            <a:lvl2pPr marL="742950" indent="-285750" eaLnBrk="0" hangingPunct="0">
              <a:defRPr sz="1900">
                <a:solidFill>
                  <a:schemeClr val="tx1"/>
                </a:solidFill>
                <a:latin typeface="Arial" panose="020B0604020202020204" pitchFamily="34" charset="0"/>
                <a:cs typeface="Arial" panose="020B0604020202020204" pitchFamily="34" charset="0"/>
              </a:defRPr>
            </a:lvl2pPr>
            <a:lvl3pPr marL="1143000" indent="-228600" eaLnBrk="0" hangingPunct="0">
              <a:defRPr sz="1900">
                <a:solidFill>
                  <a:schemeClr val="tx1"/>
                </a:solidFill>
                <a:latin typeface="Arial" panose="020B0604020202020204" pitchFamily="34" charset="0"/>
                <a:cs typeface="Arial" panose="020B0604020202020204" pitchFamily="34" charset="0"/>
              </a:defRPr>
            </a:lvl3pPr>
            <a:lvl4pPr marL="1600200" indent="-228600" eaLnBrk="0" hangingPunct="0">
              <a:defRPr sz="1900">
                <a:solidFill>
                  <a:schemeClr val="tx1"/>
                </a:solidFill>
                <a:latin typeface="Arial" panose="020B0604020202020204" pitchFamily="34" charset="0"/>
                <a:cs typeface="Arial" panose="020B0604020202020204" pitchFamily="34" charset="0"/>
              </a:defRPr>
            </a:lvl4pPr>
            <a:lvl5pPr marL="2057400" indent="-228600" eaLnBrk="0" hangingPunct="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8AA7BB85-9F97-4717-AB4A-5357292FEB41}" type="slidenum">
              <a:rPr lang="en-US" altLang="en-US" sz="700">
                <a:solidFill>
                  <a:schemeClr val="tx2"/>
                </a:solidFill>
              </a:rPr>
              <a:pPr algn="ctr" eaLnBrk="1" hangingPunct="1"/>
              <a:t>‹#›</a:t>
            </a:fld>
            <a:endParaRPr lang="en-US" altLang="en-US" sz="700">
              <a:solidFill>
                <a:schemeClr val="tx2"/>
              </a:solidFill>
            </a:endParaRPr>
          </a:p>
        </p:txBody>
      </p:sp>
      <p:sp>
        <p:nvSpPr>
          <p:cNvPr id="5"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Arial"/>
                <a:cs typeface="Helvetica Light"/>
              </a:rPr>
              <a:t>Copyright © </a:t>
            </a:r>
            <a:r>
              <a:rPr lang="en-US" altLang="en-US" sz="700" dirty="0" err="1">
                <a:solidFill>
                  <a:schemeClr val="tx2"/>
                </a:solidFill>
                <a:latin typeface="Arial"/>
                <a:cs typeface="Helvetica Light"/>
              </a:rPr>
              <a:t>Capgemini</a:t>
            </a:r>
            <a:r>
              <a:rPr lang="en-US" altLang="en-US" sz="700" dirty="0">
                <a:solidFill>
                  <a:schemeClr val="tx2"/>
                </a:solidFill>
                <a:latin typeface="Arial"/>
                <a:cs typeface="Helvetica Light"/>
              </a:rPr>
              <a:t> 2017. All Rights Reserved</a:t>
            </a:r>
          </a:p>
        </p:txBody>
      </p:sp>
      <p:pic>
        <p:nvPicPr>
          <p:cNvPr id="7" name="Picture 103" descr="C:\Users\UserSim\Desktop\Capgemini\Capgemini_logo_cmyk.png"/>
          <p:cNvPicPr>
            <a:picLocks noChangeAspect="1" noChangeArrowheads="1"/>
          </p:cNvPicPr>
          <p:nvPr>
            <p:custDataLst>
              <p:tags r:id="rId6"/>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158750" y="6443663"/>
            <a:ext cx="1311275"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9" name="Object 1" hidden="1"/>
          <p:cNvGraphicFramePr>
            <a:graphicFrameLocks noChangeAspect="1"/>
          </p:cNvGraphicFramePr>
          <p:nvPr userDrawn="1">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511" name="think-cell Slide" r:id="rId13" imgW="360" imgH="360" progId="">
                  <p:embed/>
                </p:oleObj>
              </mc:Choice>
              <mc:Fallback>
                <p:oleObj name="think-cell Slide" r:id="rId13" imgW="360" imgH="360" progId="">
                  <p:embed/>
                  <p:pic>
                    <p:nvPicPr>
                      <p:cNvPr id="0" name="Picture 1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802865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losing 1">
    <p:spTree>
      <p:nvGrpSpPr>
        <p:cNvPr id="1" name=""/>
        <p:cNvGrpSpPr/>
        <p:nvPr/>
      </p:nvGrpSpPr>
      <p:grpSpPr>
        <a:xfrm>
          <a:off x="0" y="0"/>
          <a:ext cx="0" cy="0"/>
          <a:chOff x="0" y="0"/>
          <a:chExt cx="0" cy="0"/>
        </a:xfrm>
      </p:grpSpPr>
      <p:graphicFrame>
        <p:nvGraphicFramePr>
          <p:cNvPr id="2" name="Object 2"/>
          <p:cNvGraphicFramePr>
            <a:graphicFrameLocks noChangeAspect="1"/>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107546"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7"/>
          <p:cNvSpPr/>
          <p:nvPr>
            <p:custDataLst>
              <p:tags r:id="rId3"/>
            </p:custDataLst>
          </p:nvPr>
        </p:nvSpPr>
        <p:spPr bwMode="auto">
          <a:xfrm flipV="1">
            <a:off x="-1720" y="1677988"/>
            <a:ext cx="9907720"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eaLnBrk="1" fontAlgn="auto" hangingPunct="1">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a:extLst>
              <a:ext uri="{28A0092B-C50C-407E-A947-70E740481C1C}">
                <a14:useLocalDpi xmlns:a14="http://schemas.microsoft.com/office/drawing/2010/main" val="0"/>
              </a:ext>
            </a:extLst>
          </a:blip>
          <a:srcRect/>
          <a:stretch>
            <a:fillRect/>
          </a:stretch>
        </p:blipFill>
        <p:spPr bwMode="auto">
          <a:xfrm>
            <a:off x="691357" y="930275"/>
            <a:ext cx="3154098" cy="776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4" descr="C:\Users\UserSim\Desktop\Capgemini\moto.emf"/>
          <p:cNvPicPr>
            <a:picLocks noChangeAspect="1" noChangeArrowheads="1"/>
          </p:cNvPicPr>
          <p:nvPr>
            <p:custDataLst>
              <p:tags r:id="rId5"/>
            </p:custDataLst>
          </p:nvPr>
        </p:nvPicPr>
        <p:blipFill>
          <a:blip r:embed="rId22">
            <a:extLst>
              <a:ext uri="{28A0092B-C50C-407E-A947-70E740481C1C}">
                <a14:useLocalDpi xmlns:a14="http://schemas.microsoft.com/office/drawing/2010/main" val="0"/>
              </a:ext>
            </a:extLst>
          </a:blip>
          <a:srcRect/>
          <a:stretch>
            <a:fillRect/>
          </a:stretch>
        </p:blipFill>
        <p:spPr bwMode="auto">
          <a:xfrm>
            <a:off x="5491296" y="1173163"/>
            <a:ext cx="3645958"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21"/>
          <p:cNvSpPr>
            <a:spLocks noChangeArrowheads="1"/>
          </p:cNvSpPr>
          <p:nvPr>
            <p:custDataLst>
              <p:tags r:id="rId6"/>
            </p:custDataLst>
          </p:nvPr>
        </p:nvSpPr>
        <p:spPr bwMode="auto">
          <a:xfrm>
            <a:off x="5523971" y="6380164"/>
            <a:ext cx="4382029" cy="28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3059" tIns="33059" rIns="330588" bIns="33059" anchor="b">
            <a:spAutoFit/>
          </a:bodyPr>
          <a:lstStyle>
            <a:lvl1pPr defTabSz="957263">
              <a:defRPr>
                <a:solidFill>
                  <a:schemeClr val="tx1"/>
                </a:solidFill>
                <a:latin typeface="Arial" panose="020B0604020202020204" pitchFamily="34" charset="0"/>
              </a:defRPr>
            </a:lvl1pPr>
            <a:lvl2pPr marL="742950" indent="-285750" defTabSz="957263">
              <a:defRPr>
                <a:solidFill>
                  <a:schemeClr val="tx1"/>
                </a:solidFill>
                <a:latin typeface="Arial" panose="020B0604020202020204" pitchFamily="34" charset="0"/>
              </a:defRPr>
            </a:lvl2pPr>
            <a:lvl3pPr marL="1143000" indent="-228600" defTabSz="957263">
              <a:defRPr>
                <a:solidFill>
                  <a:schemeClr val="tx1"/>
                </a:solidFill>
                <a:latin typeface="Arial" panose="020B0604020202020204" pitchFamily="34" charset="0"/>
              </a:defRPr>
            </a:lvl3pPr>
            <a:lvl4pPr marL="1600200" indent="-228600" defTabSz="957263">
              <a:defRPr>
                <a:solidFill>
                  <a:schemeClr val="tx1"/>
                </a:solidFill>
                <a:latin typeface="Arial" panose="020B0604020202020204" pitchFamily="34" charset="0"/>
              </a:defRPr>
            </a:lvl4pPr>
            <a:lvl5pPr marL="2057400" indent="-228600" defTabSz="957263">
              <a:defRPr>
                <a:solidFill>
                  <a:schemeClr val="tx1"/>
                </a:solidFill>
                <a:latin typeface="Arial" panose="020B0604020202020204" pitchFamily="34" charset="0"/>
              </a:defRPr>
            </a:lvl5pPr>
            <a:lvl6pPr marL="2514600" indent="-228600" defTabSz="957263" eaLnBrk="0" fontAlgn="base" hangingPunct="0">
              <a:spcBef>
                <a:spcPct val="0"/>
              </a:spcBef>
              <a:spcAft>
                <a:spcPct val="0"/>
              </a:spcAft>
              <a:defRPr>
                <a:solidFill>
                  <a:schemeClr val="tx1"/>
                </a:solidFill>
                <a:latin typeface="Arial" panose="020B0604020202020204" pitchFamily="34" charset="0"/>
              </a:defRPr>
            </a:lvl6pPr>
            <a:lvl7pPr marL="2971800" indent="-228600" defTabSz="957263" eaLnBrk="0" fontAlgn="base" hangingPunct="0">
              <a:spcBef>
                <a:spcPct val="0"/>
              </a:spcBef>
              <a:spcAft>
                <a:spcPct val="0"/>
              </a:spcAft>
              <a:defRPr>
                <a:solidFill>
                  <a:schemeClr val="tx1"/>
                </a:solidFill>
                <a:latin typeface="Arial" panose="020B0604020202020204" pitchFamily="34" charset="0"/>
              </a:defRPr>
            </a:lvl7pPr>
            <a:lvl8pPr marL="3429000" indent="-228600" defTabSz="957263" eaLnBrk="0" fontAlgn="base" hangingPunct="0">
              <a:spcBef>
                <a:spcPct val="0"/>
              </a:spcBef>
              <a:spcAft>
                <a:spcPct val="0"/>
              </a:spcAft>
              <a:defRPr>
                <a:solidFill>
                  <a:schemeClr val="tx1"/>
                </a:solidFill>
                <a:latin typeface="Arial" panose="020B0604020202020204" pitchFamily="34" charset="0"/>
              </a:defRPr>
            </a:lvl8pPr>
            <a:lvl9pPr marL="3886200" indent="-228600" defTabSz="957263" eaLnBrk="0" fontAlgn="base" hangingPunct="0">
              <a:spcBef>
                <a:spcPct val="0"/>
              </a:spcBef>
              <a:spcAft>
                <a:spcPct val="0"/>
              </a:spcAft>
              <a:defRPr>
                <a:solidFill>
                  <a:schemeClr val="tx1"/>
                </a:solidFill>
                <a:latin typeface="Arial" panose="020B0604020202020204" pitchFamily="34" charset="0"/>
              </a:defRPr>
            </a:lvl9pPr>
          </a:lstStyle>
          <a:p>
            <a:pPr algn="r" eaLnBrk="1" hangingPunct="1"/>
            <a:r>
              <a:rPr lang="en-US" altLang="en-US" sz="700">
                <a:solidFill>
                  <a:schemeClr val="bg1"/>
                </a:solidFill>
                <a:cs typeface="Arial" panose="020B0604020202020204" pitchFamily="34" charset="0"/>
              </a:rPr>
              <a:t>The information contained in this presentation is proprietary.</a:t>
            </a:r>
          </a:p>
          <a:p>
            <a:pPr algn="r" eaLnBrk="1" hangingPunct="1"/>
            <a:r>
              <a:rPr lang="en-US" altLang="en-US" sz="700">
                <a:solidFill>
                  <a:schemeClr val="bg1"/>
                </a:solidFill>
                <a:cs typeface="Arial" panose="020B0604020202020204" pitchFamily="34" charset="0"/>
              </a:rPr>
              <a:t>© 2012 Capgemini. All rights reserved.</a:t>
            </a:r>
          </a:p>
        </p:txBody>
      </p:sp>
      <p:sp>
        <p:nvSpPr>
          <p:cNvPr id="7" name="Rectangle 22"/>
          <p:cNvSpPr>
            <a:spLocks noChangeArrowheads="1"/>
          </p:cNvSpPr>
          <p:nvPr>
            <p:custDataLst>
              <p:tags r:id="rId7"/>
            </p:custDataLst>
          </p:nvPr>
        </p:nvSpPr>
        <p:spPr bwMode="auto">
          <a:xfrm>
            <a:off x="6982879" y="5458345"/>
            <a:ext cx="2923122" cy="380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0" bIns="36000" anchor="b">
            <a:spAutoFit/>
          </a:bodyPr>
          <a:lstStyle>
            <a:lvl1pPr defTabSz="957263">
              <a:defRPr>
                <a:solidFill>
                  <a:schemeClr val="tx1"/>
                </a:solidFill>
                <a:latin typeface="Arial" panose="020B0604020202020204" pitchFamily="34" charset="0"/>
              </a:defRPr>
            </a:lvl1pPr>
            <a:lvl2pPr marL="742950" indent="-285750" defTabSz="957263">
              <a:defRPr>
                <a:solidFill>
                  <a:schemeClr val="tx1"/>
                </a:solidFill>
                <a:latin typeface="Arial" panose="020B0604020202020204" pitchFamily="34" charset="0"/>
              </a:defRPr>
            </a:lvl2pPr>
            <a:lvl3pPr marL="1143000" indent="-228600" defTabSz="957263">
              <a:defRPr>
                <a:solidFill>
                  <a:schemeClr val="tx1"/>
                </a:solidFill>
                <a:latin typeface="Arial" panose="020B0604020202020204" pitchFamily="34" charset="0"/>
              </a:defRPr>
            </a:lvl3pPr>
            <a:lvl4pPr marL="1600200" indent="-228600" defTabSz="957263">
              <a:defRPr>
                <a:solidFill>
                  <a:schemeClr val="tx1"/>
                </a:solidFill>
                <a:latin typeface="Arial" panose="020B0604020202020204" pitchFamily="34" charset="0"/>
              </a:defRPr>
            </a:lvl4pPr>
            <a:lvl5pPr marL="2057400" indent="-228600" defTabSz="957263">
              <a:defRPr>
                <a:solidFill>
                  <a:schemeClr val="tx1"/>
                </a:solidFill>
                <a:latin typeface="Arial" panose="020B0604020202020204" pitchFamily="34" charset="0"/>
              </a:defRPr>
            </a:lvl5pPr>
            <a:lvl6pPr marL="2514600" indent="-228600" defTabSz="957263" eaLnBrk="0" fontAlgn="base" hangingPunct="0">
              <a:spcBef>
                <a:spcPct val="0"/>
              </a:spcBef>
              <a:spcAft>
                <a:spcPct val="0"/>
              </a:spcAft>
              <a:defRPr>
                <a:solidFill>
                  <a:schemeClr val="tx1"/>
                </a:solidFill>
                <a:latin typeface="Arial" panose="020B0604020202020204" pitchFamily="34" charset="0"/>
              </a:defRPr>
            </a:lvl6pPr>
            <a:lvl7pPr marL="2971800" indent="-228600" defTabSz="957263" eaLnBrk="0" fontAlgn="base" hangingPunct="0">
              <a:spcBef>
                <a:spcPct val="0"/>
              </a:spcBef>
              <a:spcAft>
                <a:spcPct val="0"/>
              </a:spcAft>
              <a:defRPr>
                <a:solidFill>
                  <a:schemeClr val="tx1"/>
                </a:solidFill>
                <a:latin typeface="Arial" panose="020B0604020202020204" pitchFamily="34" charset="0"/>
              </a:defRPr>
            </a:lvl7pPr>
            <a:lvl8pPr marL="3429000" indent="-228600" defTabSz="957263" eaLnBrk="0" fontAlgn="base" hangingPunct="0">
              <a:spcBef>
                <a:spcPct val="0"/>
              </a:spcBef>
              <a:spcAft>
                <a:spcPct val="0"/>
              </a:spcAft>
              <a:defRPr>
                <a:solidFill>
                  <a:schemeClr val="tx1"/>
                </a:solidFill>
                <a:latin typeface="Arial" panose="020B0604020202020204" pitchFamily="34" charset="0"/>
              </a:defRPr>
            </a:lvl8pPr>
            <a:lvl9pPr marL="3886200" indent="-228600" defTabSz="957263" eaLnBrk="0" fontAlgn="base" hangingPunct="0">
              <a:spcBef>
                <a:spcPct val="0"/>
              </a:spcBef>
              <a:spcAft>
                <a:spcPct val="0"/>
              </a:spcAft>
              <a:defRPr>
                <a:solidFill>
                  <a:schemeClr val="tx1"/>
                </a:solidFill>
                <a:latin typeface="Arial" panose="020B0604020202020204" pitchFamily="34" charset="0"/>
              </a:defRPr>
            </a:lvl9pPr>
          </a:lstStyle>
          <a:p>
            <a:pPr algn="r" eaLnBrk="1" hangingPunct="1"/>
            <a:r>
              <a:rPr lang="en-US" altLang="en-US" sz="2000" b="1">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a:extLst>
              <a:ext uri="{28A0092B-C50C-407E-A947-70E740481C1C}">
                <a14:useLocalDpi xmlns:a14="http://schemas.microsoft.com/office/drawing/2010/main" val="0"/>
              </a:ext>
            </a:extLst>
          </a:blip>
          <a:srcRect/>
          <a:stretch>
            <a:fillRect/>
          </a:stretch>
        </p:blipFill>
        <p:spPr bwMode="auto">
          <a:xfrm>
            <a:off x="7938559" y="5932489"/>
            <a:ext cx="278606"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a:extLst>
              <a:ext uri="{28A0092B-C50C-407E-A947-70E740481C1C}">
                <a14:useLocalDpi xmlns:a14="http://schemas.microsoft.com/office/drawing/2010/main" val="0"/>
              </a:ext>
            </a:extLst>
          </a:blip>
          <a:srcRect/>
          <a:stretch>
            <a:fillRect/>
          </a:stretch>
        </p:blipFill>
        <p:spPr bwMode="auto">
          <a:xfrm>
            <a:off x="8273918" y="5932488"/>
            <a:ext cx="282046"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a:extLst>
              <a:ext uri="{28A0092B-C50C-407E-A947-70E740481C1C}">
                <a14:useLocalDpi xmlns:a14="http://schemas.microsoft.com/office/drawing/2010/main" val="0"/>
              </a:ext>
            </a:extLst>
          </a:blip>
          <a:srcRect/>
          <a:stretch>
            <a:fillRect/>
          </a:stretch>
        </p:blipFill>
        <p:spPr bwMode="auto">
          <a:xfrm>
            <a:off x="8905082" y="5932488"/>
            <a:ext cx="280327"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a:extLst>
              <a:ext uri="{28A0092B-C50C-407E-A947-70E740481C1C}">
                <a14:useLocalDpi xmlns:a14="http://schemas.microsoft.com/office/drawing/2010/main" val="0"/>
              </a:ext>
            </a:extLst>
          </a:blip>
          <a:srcRect/>
          <a:stretch>
            <a:fillRect/>
          </a:stretch>
        </p:blipFill>
        <p:spPr bwMode="auto">
          <a:xfrm>
            <a:off x="9242160" y="5932488"/>
            <a:ext cx="282046"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8613169" y="5932549"/>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3"/>
          <p:cNvGraphicFramePr>
            <a:graphicFrameLocks noChangeAspect="1"/>
          </p:cNvGraphicFramePr>
          <p:nvPr>
            <p:custDataLst>
              <p:tags r:id="rId13"/>
            </p:custDataLst>
          </p:nvPr>
        </p:nvGraphicFramePr>
        <p:xfrm>
          <a:off x="1" y="1"/>
          <a:ext cx="147902" cy="144463"/>
        </p:xfrm>
        <a:graphic>
          <a:graphicData uri="http://schemas.openxmlformats.org/presentationml/2006/ole">
            <mc:AlternateContent xmlns:mc="http://schemas.openxmlformats.org/markup-compatibility/2006">
              <mc:Choice xmlns:v="urn:schemas-microsoft-com:vml" Requires="v">
                <p:oleObj spid="_x0000_s107547" name="think-cell Slide" r:id="rId33" imgW="360" imgH="360" progId="">
                  <p:embed/>
                </p:oleObj>
              </mc:Choice>
              <mc:Fallback>
                <p:oleObj name="think-cell Slide" r:id="rId33"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 y="1"/>
                        <a:ext cx="147902"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4" name="Group 351"/>
          <p:cNvGrpSpPr>
            <a:grpSpLocks/>
          </p:cNvGrpSpPr>
          <p:nvPr userDrawn="1">
            <p:custDataLst>
              <p:tags r:id="rId14"/>
            </p:custDataLst>
          </p:nvPr>
        </p:nvGrpSpPr>
        <p:grpSpPr bwMode="auto">
          <a:xfrm>
            <a:off x="5781939" y="3259139"/>
            <a:ext cx="3700992" cy="2117725"/>
            <a:chOff x="5511798" y="3584333"/>
            <a:chExt cx="4818106" cy="2816468"/>
          </a:xfrm>
        </p:grpSpPr>
        <p:grpSp>
          <p:nvGrpSpPr>
            <p:cNvPr id="15" name="Group 54"/>
            <p:cNvGrpSpPr>
              <a:grpSpLocks/>
            </p:cNvGrpSpPr>
            <p:nvPr userDrawn="1">
              <p:custDataLst>
                <p:tags r:id="rId16"/>
              </p:custDataLst>
            </p:nvPr>
          </p:nvGrpSpPr>
          <p:grpSpPr bwMode="auto">
            <a:xfrm>
              <a:off x="5511798" y="3584333"/>
              <a:ext cx="4818106" cy="2816468"/>
              <a:chOff x="-6346822" y="2366960"/>
              <a:chExt cx="5613397" cy="3281360"/>
            </a:xfrm>
          </p:grpSpPr>
          <p:grpSp>
            <p:nvGrpSpPr>
              <p:cNvPr id="49"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gd name="T0" fmla="*/ 58 w 58"/>
                    <a:gd name="T1" fmla="*/ 1 h 1"/>
                    <a:gd name="T2" fmla="*/ 58 w 58"/>
                    <a:gd name="T3" fmla="*/ 0 h 1"/>
                    <a:gd name="T4" fmla="*/ 0 w 58"/>
                    <a:gd name="T5" fmla="*/ 0 h 1"/>
                    <a:gd name="T6" fmla="*/ 0 w 58"/>
                    <a:gd name="T7" fmla="*/ 1 h 1"/>
                    <a:gd name="T8" fmla="*/ 58 w 58"/>
                    <a:gd name="T9" fmla="*/ 0 h 1"/>
                    <a:gd name="T10" fmla="*/ 58 w 58"/>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45" name="Freeform 6"/>
                <p:cNvSpPr>
                  <a:spLocks/>
                </p:cNvSpPr>
                <p:nvPr/>
              </p:nvSpPr>
              <p:spPr bwMode="auto">
                <a:xfrm>
                  <a:off x="-2718" y="2861"/>
                  <a:ext cx="12" cy="3"/>
                </a:xfrm>
                <a:custGeom>
                  <a:avLst/>
                  <a:gdLst>
                    <a:gd name="T0" fmla="*/ 5 w 5"/>
                    <a:gd name="T1" fmla="*/ 0 h 1"/>
                    <a:gd name="T2" fmla="*/ 0 w 5"/>
                    <a:gd name="T3" fmla="*/ 0 h 1"/>
                    <a:gd name="T4" fmla="*/ 0 w 5"/>
                    <a:gd name="T5" fmla="*/ 1 h 1"/>
                    <a:gd name="T6" fmla="*/ 5 w 5"/>
                    <a:gd name="T7" fmla="*/ 1 h 1"/>
                    <a:gd name="T8" fmla="*/ 5 w 5"/>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46" name="Freeform 7"/>
                <p:cNvSpPr>
                  <a:spLocks/>
                </p:cNvSpPr>
                <p:nvPr/>
              </p:nvSpPr>
              <p:spPr bwMode="auto">
                <a:xfrm>
                  <a:off x="-1029" y="2861"/>
                  <a:ext cx="2" cy="3"/>
                </a:xfrm>
                <a:custGeom>
                  <a:avLst/>
                  <a:gdLst>
                    <a:gd name="T0" fmla="*/ 0 w 2"/>
                    <a:gd name="T1" fmla="*/ 0 h 1"/>
                    <a:gd name="T2" fmla="*/ 0 w 2"/>
                    <a:gd name="T3" fmla="*/ 1 h 1"/>
                    <a:gd name="T4" fmla="*/ 0 w 2"/>
                    <a:gd name="T5" fmla="*/ 1 h 1"/>
                    <a:gd name="T6" fmla="*/ 0 w 2"/>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
                      <a:moveTo>
                        <a:pt x="0" y="0"/>
                      </a:moveTo>
                      <a:cubicBezTo>
                        <a:pt x="0" y="1"/>
                        <a:pt x="0" y="1"/>
                        <a:pt x="0" y="1"/>
                      </a:cubicBezTo>
                      <a:cubicBezTo>
                        <a:pt x="0" y="1"/>
                        <a:pt x="0" y="1"/>
                        <a:pt x="0" y="1"/>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47" name="Freeform 8"/>
                <p:cNvSpPr>
                  <a:spLocks noEditPoints="1"/>
                </p:cNvSpPr>
                <p:nvPr/>
              </p:nvSpPr>
              <p:spPr bwMode="auto">
                <a:xfrm>
                  <a:off x="-2197" y="2222"/>
                  <a:ext cx="1257" cy="3"/>
                </a:xfrm>
                <a:custGeom>
                  <a:avLst/>
                  <a:gdLst>
                    <a:gd name="T0" fmla="*/ 0 w 531"/>
                    <a:gd name="T1" fmla="*/ 0 h 1"/>
                    <a:gd name="T2" fmla="*/ 0 w 531"/>
                    <a:gd name="T3" fmla="*/ 0 h 1"/>
                    <a:gd name="T4" fmla="*/ 0 w 531"/>
                    <a:gd name="T5" fmla="*/ 1 h 1"/>
                    <a:gd name="T6" fmla="*/ 0 w 531"/>
                    <a:gd name="T7" fmla="*/ 0 h 1"/>
                    <a:gd name="T8" fmla="*/ 230 w 531"/>
                    <a:gd name="T9" fmla="*/ 0 h 1"/>
                    <a:gd name="T10" fmla="*/ 228 w 531"/>
                    <a:gd name="T11" fmla="*/ 0 h 1"/>
                    <a:gd name="T12" fmla="*/ 228 w 531"/>
                    <a:gd name="T13" fmla="*/ 1 h 1"/>
                    <a:gd name="T14" fmla="*/ 230 w 531"/>
                    <a:gd name="T15" fmla="*/ 1 h 1"/>
                    <a:gd name="T16" fmla="*/ 230 w 531"/>
                    <a:gd name="T17" fmla="*/ 0 h 1"/>
                    <a:gd name="T18" fmla="*/ 431 w 531"/>
                    <a:gd name="T19" fmla="*/ 0 h 1"/>
                    <a:gd name="T20" fmla="*/ 426 w 531"/>
                    <a:gd name="T21" fmla="*/ 0 h 1"/>
                    <a:gd name="T22" fmla="*/ 426 w 531"/>
                    <a:gd name="T23" fmla="*/ 1 h 1"/>
                    <a:gd name="T24" fmla="*/ 431 w 531"/>
                    <a:gd name="T25" fmla="*/ 1 h 1"/>
                    <a:gd name="T26" fmla="*/ 431 w 531"/>
                    <a:gd name="T27" fmla="*/ 0 h 1"/>
                    <a:gd name="T28" fmla="*/ 442 w 531"/>
                    <a:gd name="T29" fmla="*/ 0 h 1"/>
                    <a:gd name="T30" fmla="*/ 436 w 531"/>
                    <a:gd name="T31" fmla="*/ 0 h 1"/>
                    <a:gd name="T32" fmla="*/ 436 w 531"/>
                    <a:gd name="T33" fmla="*/ 1 h 1"/>
                    <a:gd name="T34" fmla="*/ 442 w 531"/>
                    <a:gd name="T35" fmla="*/ 1 h 1"/>
                    <a:gd name="T36" fmla="*/ 442 w 531"/>
                    <a:gd name="T37" fmla="*/ 0 h 1"/>
                    <a:gd name="T38" fmla="*/ 462 w 531"/>
                    <a:gd name="T39" fmla="*/ 0 h 1"/>
                    <a:gd name="T40" fmla="*/ 458 w 531"/>
                    <a:gd name="T41" fmla="*/ 0 h 1"/>
                    <a:gd name="T42" fmla="*/ 459 w 531"/>
                    <a:gd name="T43" fmla="*/ 1 h 1"/>
                    <a:gd name="T44" fmla="*/ 462 w 531"/>
                    <a:gd name="T45" fmla="*/ 1 h 1"/>
                    <a:gd name="T46" fmla="*/ 462 w 531"/>
                    <a:gd name="T47" fmla="*/ 0 h 1"/>
                    <a:gd name="T48" fmla="*/ 530 w 531"/>
                    <a:gd name="T49" fmla="*/ 0 h 1"/>
                    <a:gd name="T50" fmla="*/ 530 w 531"/>
                    <a:gd name="T51" fmla="*/ 0 h 1"/>
                    <a:gd name="T52" fmla="*/ 530 w 531"/>
                    <a:gd name="T53" fmla="*/ 1 h 1"/>
                    <a:gd name="T54" fmla="*/ 531 w 531"/>
                    <a:gd name="T55" fmla="*/ 1 h 1"/>
                    <a:gd name="T56" fmla="*/ 530 w 531"/>
                    <a:gd name="T57" fmla="*/ 0 h 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48" name="Freeform 9"/>
                <p:cNvSpPr>
                  <a:spLocks noEditPoints="1"/>
                </p:cNvSpPr>
                <p:nvPr/>
              </p:nvSpPr>
              <p:spPr bwMode="auto">
                <a:xfrm>
                  <a:off x="-3755" y="2222"/>
                  <a:ext cx="74" cy="3"/>
                </a:xfrm>
                <a:custGeom>
                  <a:avLst/>
                  <a:gdLst>
                    <a:gd name="T0" fmla="*/ 0 w 31"/>
                    <a:gd name="T1" fmla="*/ 0 h 1"/>
                    <a:gd name="T2" fmla="*/ 0 w 31"/>
                    <a:gd name="T3" fmla="*/ 0 h 1"/>
                    <a:gd name="T4" fmla="*/ 0 w 31"/>
                    <a:gd name="T5" fmla="*/ 1 h 1"/>
                    <a:gd name="T6" fmla="*/ 0 w 31"/>
                    <a:gd name="T7" fmla="*/ 1 h 1"/>
                    <a:gd name="T8" fmla="*/ 0 w 31"/>
                    <a:gd name="T9" fmla="*/ 0 h 1"/>
                    <a:gd name="T10" fmla="*/ 31 w 31"/>
                    <a:gd name="T11" fmla="*/ 0 h 1"/>
                    <a:gd name="T12" fmla="*/ 31 w 31"/>
                    <a:gd name="T13" fmla="*/ 0 h 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49" name="Freeform 10"/>
                <p:cNvSpPr>
                  <a:spLocks noEditPoints="1"/>
                </p:cNvSpPr>
                <p:nvPr/>
              </p:nvSpPr>
              <p:spPr bwMode="auto">
                <a:xfrm>
                  <a:off x="-2263" y="1682"/>
                  <a:ext cx="1068" cy="3"/>
                </a:xfrm>
                <a:custGeom>
                  <a:avLst/>
                  <a:gdLst>
                    <a:gd name="T0" fmla="*/ 5 w 452"/>
                    <a:gd name="T1" fmla="*/ 0 h 1"/>
                    <a:gd name="T2" fmla="*/ 0 w 452"/>
                    <a:gd name="T3" fmla="*/ 0 h 1"/>
                    <a:gd name="T4" fmla="*/ 0 w 452"/>
                    <a:gd name="T5" fmla="*/ 1 h 1"/>
                    <a:gd name="T6" fmla="*/ 5 w 452"/>
                    <a:gd name="T7" fmla="*/ 1 h 1"/>
                    <a:gd name="T8" fmla="*/ 5 w 452"/>
                    <a:gd name="T9" fmla="*/ 0 h 1"/>
                    <a:gd name="T10" fmla="*/ 119 w 452"/>
                    <a:gd name="T11" fmla="*/ 0 h 1"/>
                    <a:gd name="T12" fmla="*/ 114 w 452"/>
                    <a:gd name="T13" fmla="*/ 0 h 1"/>
                    <a:gd name="T14" fmla="*/ 114 w 452"/>
                    <a:gd name="T15" fmla="*/ 1 h 1"/>
                    <a:gd name="T16" fmla="*/ 119 w 452"/>
                    <a:gd name="T17" fmla="*/ 1 h 1"/>
                    <a:gd name="T18" fmla="*/ 119 w 452"/>
                    <a:gd name="T19" fmla="*/ 0 h 1"/>
                    <a:gd name="T20" fmla="*/ 167 w 452"/>
                    <a:gd name="T21" fmla="*/ 0 h 1"/>
                    <a:gd name="T22" fmla="*/ 166 w 452"/>
                    <a:gd name="T23" fmla="*/ 0 h 1"/>
                    <a:gd name="T24" fmla="*/ 166 w 452"/>
                    <a:gd name="T25" fmla="*/ 1 h 1"/>
                    <a:gd name="T26" fmla="*/ 167 w 452"/>
                    <a:gd name="T27" fmla="*/ 1 h 1"/>
                    <a:gd name="T28" fmla="*/ 167 w 452"/>
                    <a:gd name="T29" fmla="*/ 0 h 1"/>
                    <a:gd name="T30" fmla="*/ 223 w 452"/>
                    <a:gd name="T31" fmla="*/ 0 h 1"/>
                    <a:gd name="T32" fmla="*/ 218 w 452"/>
                    <a:gd name="T33" fmla="*/ 0 h 1"/>
                    <a:gd name="T34" fmla="*/ 218 w 452"/>
                    <a:gd name="T35" fmla="*/ 1 h 1"/>
                    <a:gd name="T36" fmla="*/ 223 w 452"/>
                    <a:gd name="T37" fmla="*/ 1 h 1"/>
                    <a:gd name="T38" fmla="*/ 223 w 452"/>
                    <a:gd name="T39" fmla="*/ 0 h 1"/>
                    <a:gd name="T40" fmla="*/ 327 w 452"/>
                    <a:gd name="T41" fmla="*/ 0 h 1"/>
                    <a:gd name="T42" fmla="*/ 326 w 452"/>
                    <a:gd name="T43" fmla="*/ 0 h 1"/>
                    <a:gd name="T44" fmla="*/ 327 w 452"/>
                    <a:gd name="T45" fmla="*/ 1 h 1"/>
                    <a:gd name="T46" fmla="*/ 327 w 452"/>
                    <a:gd name="T47" fmla="*/ 1 h 1"/>
                    <a:gd name="T48" fmla="*/ 327 w 452"/>
                    <a:gd name="T49" fmla="*/ 0 h 1"/>
                    <a:gd name="T50" fmla="*/ 431 w 452"/>
                    <a:gd name="T51" fmla="*/ 0 h 1"/>
                    <a:gd name="T52" fmla="*/ 426 w 452"/>
                    <a:gd name="T53" fmla="*/ 0 h 1"/>
                    <a:gd name="T54" fmla="*/ 426 w 452"/>
                    <a:gd name="T55" fmla="*/ 1 h 1"/>
                    <a:gd name="T56" fmla="*/ 431 w 452"/>
                    <a:gd name="T57" fmla="*/ 1 h 1"/>
                    <a:gd name="T58" fmla="*/ 431 w 452"/>
                    <a:gd name="T59" fmla="*/ 0 h 1"/>
                    <a:gd name="T60" fmla="*/ 442 w 452"/>
                    <a:gd name="T61" fmla="*/ 0 h 1"/>
                    <a:gd name="T62" fmla="*/ 437 w 452"/>
                    <a:gd name="T63" fmla="*/ 0 h 1"/>
                    <a:gd name="T64" fmla="*/ 437 w 452"/>
                    <a:gd name="T65" fmla="*/ 1 h 1"/>
                    <a:gd name="T66" fmla="*/ 442 w 452"/>
                    <a:gd name="T67" fmla="*/ 1 h 1"/>
                    <a:gd name="T68" fmla="*/ 442 w 452"/>
                    <a:gd name="T69" fmla="*/ 0 h 1"/>
                    <a:gd name="T70" fmla="*/ 447 w 452"/>
                    <a:gd name="T71" fmla="*/ 0 h 1"/>
                    <a:gd name="T72" fmla="*/ 447 w 452"/>
                    <a:gd name="T73" fmla="*/ 0 h 1"/>
                    <a:gd name="T74" fmla="*/ 447 w 452"/>
                    <a:gd name="T75" fmla="*/ 1 h 1"/>
                    <a:gd name="T76" fmla="*/ 449 w 452"/>
                    <a:gd name="T77" fmla="*/ 1 h 1"/>
                    <a:gd name="T78" fmla="*/ 447 w 452"/>
                    <a:gd name="T79" fmla="*/ 0 h 1"/>
                    <a:gd name="T80" fmla="*/ 452 w 452"/>
                    <a:gd name="T81" fmla="*/ 0 h 1"/>
                    <a:gd name="T82" fmla="*/ 450 w 452"/>
                    <a:gd name="T83" fmla="*/ 0 h 1"/>
                    <a:gd name="T84" fmla="*/ 451 w 452"/>
                    <a:gd name="T85" fmla="*/ 1 h 1"/>
                    <a:gd name="T86" fmla="*/ 452 w 452"/>
                    <a:gd name="T87" fmla="*/ 1 h 1"/>
                    <a:gd name="T88" fmla="*/ 452 w 452"/>
                    <a:gd name="T89" fmla="*/ 0 h 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50" name="Freeform 11"/>
                <p:cNvSpPr>
                  <a:spLocks noEditPoints="1"/>
                </p:cNvSpPr>
                <p:nvPr/>
              </p:nvSpPr>
              <p:spPr bwMode="auto">
                <a:xfrm>
                  <a:off x="-3518" y="1682"/>
                  <a:ext cx="532" cy="3"/>
                </a:xfrm>
                <a:custGeom>
                  <a:avLst/>
                  <a:gdLst>
                    <a:gd name="T0" fmla="*/ 5 w 224"/>
                    <a:gd name="T1" fmla="*/ 1 h 1"/>
                    <a:gd name="T2" fmla="*/ 5 w 224"/>
                    <a:gd name="T3" fmla="*/ 1 h 1"/>
                    <a:gd name="T4" fmla="*/ 5 w 224"/>
                    <a:gd name="T5" fmla="*/ 1 h 1"/>
                    <a:gd name="T6" fmla="*/ 5 w 224"/>
                    <a:gd name="T7" fmla="*/ 1 h 1"/>
                    <a:gd name="T8" fmla="*/ 3 w 224"/>
                    <a:gd name="T9" fmla="*/ 0 h 1"/>
                    <a:gd name="T10" fmla="*/ 0 w 224"/>
                    <a:gd name="T11" fmla="*/ 0 h 1"/>
                    <a:gd name="T12" fmla="*/ 0 w 224"/>
                    <a:gd name="T13" fmla="*/ 1 h 1"/>
                    <a:gd name="T14" fmla="*/ 2 w 224"/>
                    <a:gd name="T15" fmla="*/ 1 h 1"/>
                    <a:gd name="T16" fmla="*/ 3 w 224"/>
                    <a:gd name="T17" fmla="*/ 0 h 1"/>
                    <a:gd name="T18" fmla="*/ 88 w 224"/>
                    <a:gd name="T19" fmla="*/ 0 h 1"/>
                    <a:gd name="T20" fmla="*/ 88 w 224"/>
                    <a:gd name="T21" fmla="*/ 0 h 1"/>
                    <a:gd name="T22" fmla="*/ 88 w 224"/>
                    <a:gd name="T23" fmla="*/ 1 h 1"/>
                    <a:gd name="T24" fmla="*/ 88 w 224"/>
                    <a:gd name="T25" fmla="*/ 1 h 1"/>
                    <a:gd name="T26" fmla="*/ 88 w 224"/>
                    <a:gd name="T27" fmla="*/ 0 h 1"/>
                    <a:gd name="T28" fmla="*/ 224 w 224"/>
                    <a:gd name="T29" fmla="*/ 0 h 1"/>
                    <a:gd name="T30" fmla="*/ 223 w 224"/>
                    <a:gd name="T31" fmla="*/ 0 h 1"/>
                    <a:gd name="T32" fmla="*/ 224 w 224"/>
                    <a:gd name="T33" fmla="*/ 1 h 1"/>
                    <a:gd name="T34" fmla="*/ 224 w 224"/>
                    <a:gd name="T35" fmla="*/ 0 h 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51" name="Freeform 12"/>
                <p:cNvSpPr>
                  <a:spLocks/>
                </p:cNvSpPr>
                <p:nvPr/>
              </p:nvSpPr>
              <p:spPr bwMode="auto">
                <a:xfrm>
                  <a:off x="-1233" y="1987"/>
                  <a:ext cx="130" cy="270"/>
                </a:xfrm>
                <a:custGeom>
                  <a:avLst/>
                  <a:gdLst>
                    <a:gd name="T0" fmla="*/ 2 w 56"/>
                    <a:gd name="T1" fmla="*/ 0 h 114"/>
                    <a:gd name="T2" fmla="*/ 0 w 56"/>
                    <a:gd name="T3" fmla="*/ 0 h 114"/>
                    <a:gd name="T4" fmla="*/ 48 w 56"/>
                    <a:gd name="T5" fmla="*/ 100 h 114"/>
                    <a:gd name="T6" fmla="*/ 48 w 56"/>
                    <a:gd name="T7" fmla="*/ 100 h 114"/>
                    <a:gd name="T8" fmla="*/ 48 w 56"/>
                    <a:gd name="T9" fmla="*/ 100 h 114"/>
                    <a:gd name="T10" fmla="*/ 49 w 56"/>
                    <a:gd name="T11" fmla="*/ 103 h 114"/>
                    <a:gd name="T12" fmla="*/ 54 w 56"/>
                    <a:gd name="T13" fmla="*/ 114 h 114"/>
                    <a:gd name="T14" fmla="*/ 56 w 56"/>
                    <a:gd name="T15" fmla="*/ 114 h 114"/>
                    <a:gd name="T16" fmla="*/ 51 w 56"/>
                    <a:gd name="T17" fmla="*/ 101 h 114"/>
                    <a:gd name="T18" fmla="*/ 49 w 56"/>
                    <a:gd name="T19" fmla="*/ 101 h 114"/>
                    <a:gd name="T20" fmla="*/ 49 w 56"/>
                    <a:gd name="T21" fmla="*/ 100 h 114"/>
                    <a:gd name="T22" fmla="*/ 50 w 56"/>
                    <a:gd name="T23" fmla="*/ 100 h 114"/>
                    <a:gd name="T24" fmla="*/ 50 w 56"/>
                    <a:gd name="T25" fmla="*/ 99 h 114"/>
                    <a:gd name="T26" fmla="*/ 50 w 56"/>
                    <a:gd name="T27" fmla="*/ 99 h 114"/>
                    <a:gd name="T28" fmla="*/ 2 w 56"/>
                    <a:gd name="T29" fmla="*/ 0 h 1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52" name="Freeform 13"/>
                <p:cNvSpPr>
                  <a:spLocks/>
                </p:cNvSpPr>
                <p:nvPr/>
              </p:nvSpPr>
              <p:spPr bwMode="auto">
                <a:xfrm>
                  <a:off x="-1116" y="2222"/>
                  <a:ext cx="5" cy="3"/>
                </a:xfrm>
                <a:custGeom>
                  <a:avLst/>
                  <a:gdLst>
                    <a:gd name="T0" fmla="*/ 1 w 2"/>
                    <a:gd name="T1" fmla="*/ 0 h 1"/>
                    <a:gd name="T2" fmla="*/ 0 w 2"/>
                    <a:gd name="T3" fmla="*/ 0 h 1"/>
                    <a:gd name="T4" fmla="*/ 0 w 2"/>
                    <a:gd name="T5" fmla="*/ 1 h 1"/>
                    <a:gd name="T6" fmla="*/ 2 w 2"/>
                    <a:gd name="T7" fmla="*/ 1 h 1"/>
                    <a:gd name="T8" fmla="*/ 1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53" name="Freeform 14"/>
                <p:cNvSpPr>
                  <a:spLocks noEditPoints="1"/>
                </p:cNvSpPr>
                <p:nvPr/>
              </p:nvSpPr>
              <p:spPr bwMode="auto">
                <a:xfrm>
                  <a:off x="-1103" y="2260"/>
                  <a:ext cx="171" cy="1016"/>
                </a:xfrm>
                <a:custGeom>
                  <a:avLst/>
                  <a:gdLst>
                    <a:gd name="T0" fmla="*/ 55 w 72"/>
                    <a:gd name="T1" fmla="*/ 343 h 429"/>
                    <a:gd name="T2" fmla="*/ 53 w 72"/>
                    <a:gd name="T3" fmla="*/ 343 h 429"/>
                    <a:gd name="T4" fmla="*/ 53 w 72"/>
                    <a:gd name="T5" fmla="*/ 343 h 429"/>
                    <a:gd name="T6" fmla="*/ 62 w 72"/>
                    <a:gd name="T7" fmla="*/ 394 h 429"/>
                    <a:gd name="T8" fmla="*/ 70 w 72"/>
                    <a:gd name="T9" fmla="*/ 429 h 429"/>
                    <a:gd name="T10" fmla="*/ 72 w 72"/>
                    <a:gd name="T11" fmla="*/ 429 h 429"/>
                    <a:gd name="T12" fmla="*/ 60 w 72"/>
                    <a:gd name="T13" fmla="*/ 374 h 429"/>
                    <a:gd name="T14" fmla="*/ 57 w 72"/>
                    <a:gd name="T15" fmla="*/ 352 h 429"/>
                    <a:gd name="T16" fmla="*/ 55 w 72"/>
                    <a:gd name="T17" fmla="*/ 343 h 429"/>
                    <a:gd name="T18" fmla="*/ 34 w 72"/>
                    <a:gd name="T19" fmla="*/ 255 h 429"/>
                    <a:gd name="T20" fmla="*/ 32 w 72"/>
                    <a:gd name="T21" fmla="*/ 255 h 429"/>
                    <a:gd name="T22" fmla="*/ 39 w 72"/>
                    <a:gd name="T23" fmla="*/ 292 h 429"/>
                    <a:gd name="T24" fmla="*/ 46 w 72"/>
                    <a:gd name="T25" fmla="*/ 324 h 429"/>
                    <a:gd name="T26" fmla="*/ 50 w 72"/>
                    <a:gd name="T27" fmla="*/ 336 h 429"/>
                    <a:gd name="T28" fmla="*/ 52 w 72"/>
                    <a:gd name="T29" fmla="*/ 342 h 429"/>
                    <a:gd name="T30" fmla="*/ 55 w 72"/>
                    <a:gd name="T31" fmla="*/ 342 h 429"/>
                    <a:gd name="T32" fmla="*/ 52 w 72"/>
                    <a:gd name="T33" fmla="*/ 336 h 429"/>
                    <a:gd name="T34" fmla="*/ 40 w 72"/>
                    <a:gd name="T35" fmla="*/ 284 h 429"/>
                    <a:gd name="T36" fmla="*/ 35 w 72"/>
                    <a:gd name="T37" fmla="*/ 259 h 429"/>
                    <a:gd name="T38" fmla="*/ 34 w 72"/>
                    <a:gd name="T39" fmla="*/ 255 h 429"/>
                    <a:gd name="T40" fmla="*/ 32 w 72"/>
                    <a:gd name="T41" fmla="*/ 233 h 429"/>
                    <a:gd name="T42" fmla="*/ 30 w 72"/>
                    <a:gd name="T43" fmla="*/ 233 h 429"/>
                    <a:gd name="T44" fmla="*/ 31 w 72"/>
                    <a:gd name="T45" fmla="*/ 249 h 429"/>
                    <a:gd name="T46" fmla="*/ 31 w 72"/>
                    <a:gd name="T47" fmla="*/ 249 h 429"/>
                    <a:gd name="T48" fmla="*/ 32 w 72"/>
                    <a:gd name="T49" fmla="*/ 254 h 429"/>
                    <a:gd name="T50" fmla="*/ 32 w 72"/>
                    <a:gd name="T51" fmla="*/ 254 h 429"/>
                    <a:gd name="T52" fmla="*/ 34 w 72"/>
                    <a:gd name="T53" fmla="*/ 254 h 429"/>
                    <a:gd name="T54" fmla="*/ 33 w 72"/>
                    <a:gd name="T55" fmla="*/ 249 h 429"/>
                    <a:gd name="T56" fmla="*/ 33 w 72"/>
                    <a:gd name="T57" fmla="*/ 249 h 429"/>
                    <a:gd name="T58" fmla="*/ 32 w 72"/>
                    <a:gd name="T59" fmla="*/ 233 h 429"/>
                    <a:gd name="T60" fmla="*/ 25 w 72"/>
                    <a:gd name="T61" fmla="*/ 102 h 429"/>
                    <a:gd name="T62" fmla="*/ 23 w 72"/>
                    <a:gd name="T63" fmla="*/ 102 h 429"/>
                    <a:gd name="T64" fmla="*/ 22 w 72"/>
                    <a:gd name="T65" fmla="*/ 112 h 429"/>
                    <a:gd name="T66" fmla="*/ 22 w 72"/>
                    <a:gd name="T67" fmla="*/ 112 h 429"/>
                    <a:gd name="T68" fmla="*/ 30 w 72"/>
                    <a:gd name="T69" fmla="*/ 232 h 429"/>
                    <a:gd name="T70" fmla="*/ 32 w 72"/>
                    <a:gd name="T71" fmla="*/ 232 h 429"/>
                    <a:gd name="T72" fmla="*/ 24 w 72"/>
                    <a:gd name="T73" fmla="*/ 113 h 429"/>
                    <a:gd name="T74" fmla="*/ 25 w 72"/>
                    <a:gd name="T75" fmla="*/ 102 h 429"/>
                    <a:gd name="T76" fmla="*/ 3 w 72"/>
                    <a:gd name="T77" fmla="*/ 0 h 429"/>
                    <a:gd name="T78" fmla="*/ 0 w 72"/>
                    <a:gd name="T79" fmla="*/ 0 h 429"/>
                    <a:gd name="T80" fmla="*/ 23 w 72"/>
                    <a:gd name="T81" fmla="*/ 95 h 429"/>
                    <a:gd name="T82" fmla="*/ 23 w 72"/>
                    <a:gd name="T83" fmla="*/ 101 h 429"/>
                    <a:gd name="T84" fmla="*/ 25 w 72"/>
                    <a:gd name="T85" fmla="*/ 101 h 429"/>
                    <a:gd name="T86" fmla="*/ 25 w 72"/>
                    <a:gd name="T87" fmla="*/ 95 h 429"/>
                    <a:gd name="T88" fmla="*/ 3 w 72"/>
                    <a:gd name="T89" fmla="*/ 0 h 42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54" name="Freeform 15"/>
                <p:cNvSpPr>
                  <a:spLocks/>
                </p:cNvSpPr>
                <p:nvPr/>
              </p:nvSpPr>
              <p:spPr bwMode="auto">
                <a:xfrm>
                  <a:off x="-981" y="3070"/>
                  <a:ext cx="8" cy="2"/>
                </a:xfrm>
                <a:custGeom>
                  <a:avLst/>
                  <a:gdLst>
                    <a:gd name="T0" fmla="*/ 3 w 3"/>
                    <a:gd name="T1" fmla="*/ 0 h 1"/>
                    <a:gd name="T2" fmla="*/ 0 w 3"/>
                    <a:gd name="T3" fmla="*/ 0 h 1"/>
                    <a:gd name="T4" fmla="*/ 1 w 3"/>
                    <a:gd name="T5" fmla="*/ 1 h 1"/>
                    <a:gd name="T6" fmla="*/ 3 w 3"/>
                    <a:gd name="T7" fmla="*/ 1 h 1"/>
                    <a:gd name="T8" fmla="*/ 3 w 3"/>
                    <a:gd name="T9" fmla="*/ 1 h 1"/>
                    <a:gd name="T10" fmla="*/ 3 w 3"/>
                    <a:gd name="T11" fmla="*/ 1 h 1"/>
                    <a:gd name="T12" fmla="*/ 3 w 3"/>
                    <a:gd name="T13" fmla="*/ 0 h 1"/>
                    <a:gd name="T14" fmla="*/ 3 w 3"/>
                    <a:gd name="T15" fmla="*/ 0 h 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55" name="Freeform 16"/>
                <p:cNvSpPr>
                  <a:spLocks/>
                </p:cNvSpPr>
                <p:nvPr/>
              </p:nvSpPr>
              <p:spPr bwMode="auto">
                <a:xfrm>
                  <a:off x="-1029" y="2861"/>
                  <a:ext cx="5" cy="3"/>
                </a:xfrm>
                <a:custGeom>
                  <a:avLst/>
                  <a:gdLst>
                    <a:gd name="T0" fmla="*/ 2 w 2"/>
                    <a:gd name="T1" fmla="*/ 0 h 1"/>
                    <a:gd name="T2" fmla="*/ 0 w 2"/>
                    <a:gd name="T3" fmla="*/ 0 h 1"/>
                    <a:gd name="T4" fmla="*/ 0 w 2"/>
                    <a:gd name="T5" fmla="*/ 0 h 1"/>
                    <a:gd name="T6" fmla="*/ 0 w 2"/>
                    <a:gd name="T7" fmla="*/ 1 h 1"/>
                    <a:gd name="T8" fmla="*/ 2 w 2"/>
                    <a:gd name="T9" fmla="*/ 1 h 1"/>
                    <a:gd name="T10" fmla="*/ 2 w 2"/>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56" name="Freeform 17"/>
                <p:cNvSpPr>
                  <a:spLocks noEditPoints="1"/>
                </p:cNvSpPr>
                <p:nvPr/>
              </p:nvSpPr>
              <p:spPr bwMode="auto">
                <a:xfrm>
                  <a:off x="-1749" y="1524"/>
                  <a:ext cx="840" cy="1831"/>
                </a:xfrm>
                <a:custGeom>
                  <a:avLst/>
                  <a:gdLst>
                    <a:gd name="T0" fmla="*/ 345 w 356"/>
                    <a:gd name="T1" fmla="*/ 740 h 772"/>
                    <a:gd name="T2" fmla="*/ 343 w 356"/>
                    <a:gd name="T3" fmla="*/ 740 h 772"/>
                    <a:gd name="T4" fmla="*/ 344 w 356"/>
                    <a:gd name="T5" fmla="*/ 744 h 772"/>
                    <a:gd name="T6" fmla="*/ 354 w 356"/>
                    <a:gd name="T7" fmla="*/ 772 h 772"/>
                    <a:gd name="T8" fmla="*/ 355 w 356"/>
                    <a:gd name="T9" fmla="*/ 772 h 772"/>
                    <a:gd name="T10" fmla="*/ 356 w 356"/>
                    <a:gd name="T11" fmla="*/ 772 h 772"/>
                    <a:gd name="T12" fmla="*/ 356 w 356"/>
                    <a:gd name="T13" fmla="*/ 771 h 772"/>
                    <a:gd name="T14" fmla="*/ 346 w 356"/>
                    <a:gd name="T15" fmla="*/ 744 h 772"/>
                    <a:gd name="T16" fmla="*/ 345 w 356"/>
                    <a:gd name="T17" fmla="*/ 740 h 772"/>
                    <a:gd name="T18" fmla="*/ 145 w 356"/>
                    <a:gd name="T19" fmla="*/ 98 h 772"/>
                    <a:gd name="T20" fmla="*/ 142 w 356"/>
                    <a:gd name="T21" fmla="*/ 98 h 772"/>
                    <a:gd name="T22" fmla="*/ 219 w 356"/>
                    <a:gd name="T23" fmla="*/ 194 h 772"/>
                    <a:gd name="T24" fmla="*/ 221 w 356"/>
                    <a:gd name="T25" fmla="*/ 194 h 772"/>
                    <a:gd name="T26" fmla="*/ 145 w 356"/>
                    <a:gd name="T27" fmla="*/ 98 h 772"/>
                    <a:gd name="T28" fmla="*/ 110 w 356"/>
                    <a:gd name="T29" fmla="*/ 67 h 772"/>
                    <a:gd name="T30" fmla="*/ 107 w 356"/>
                    <a:gd name="T31" fmla="*/ 67 h 772"/>
                    <a:gd name="T32" fmla="*/ 141 w 356"/>
                    <a:gd name="T33" fmla="*/ 97 h 772"/>
                    <a:gd name="T34" fmla="*/ 144 w 356"/>
                    <a:gd name="T35" fmla="*/ 97 h 772"/>
                    <a:gd name="T36" fmla="*/ 110 w 356"/>
                    <a:gd name="T37" fmla="*/ 67 h 772"/>
                    <a:gd name="T38" fmla="*/ 2 w 356"/>
                    <a:gd name="T39" fmla="*/ 0 h 772"/>
                    <a:gd name="T40" fmla="*/ 0 w 356"/>
                    <a:gd name="T41" fmla="*/ 0 h 772"/>
                    <a:gd name="T42" fmla="*/ 0 w 356"/>
                    <a:gd name="T43" fmla="*/ 1 h 772"/>
                    <a:gd name="T44" fmla="*/ 0 w 356"/>
                    <a:gd name="T45" fmla="*/ 1 h 772"/>
                    <a:gd name="T46" fmla="*/ 2 w 356"/>
                    <a:gd name="T47" fmla="*/ 2 h 772"/>
                    <a:gd name="T48" fmla="*/ 106 w 356"/>
                    <a:gd name="T49" fmla="*/ 66 h 772"/>
                    <a:gd name="T50" fmla="*/ 109 w 356"/>
                    <a:gd name="T51" fmla="*/ 66 h 772"/>
                    <a:gd name="T52" fmla="*/ 2 w 356"/>
                    <a:gd name="T53" fmla="*/ 0 h 77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57" name="Freeform 18"/>
                <p:cNvSpPr>
                  <a:spLocks/>
                </p:cNvSpPr>
                <p:nvPr/>
              </p:nvSpPr>
              <p:spPr bwMode="auto">
                <a:xfrm>
                  <a:off x="-1417" y="1754"/>
                  <a:ext cx="10" cy="2"/>
                </a:xfrm>
                <a:custGeom>
                  <a:avLst/>
                  <a:gdLst>
                    <a:gd name="T0" fmla="*/ 3 w 4"/>
                    <a:gd name="T1" fmla="*/ 0 h 1"/>
                    <a:gd name="T2" fmla="*/ 0 w 4"/>
                    <a:gd name="T3" fmla="*/ 0 h 1"/>
                    <a:gd name="T4" fmla="*/ 1 w 4"/>
                    <a:gd name="T5" fmla="*/ 1 h 1"/>
                    <a:gd name="T6" fmla="*/ 4 w 4"/>
                    <a:gd name="T7" fmla="*/ 1 h 1"/>
                    <a:gd name="T8" fmla="*/ 3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58" name="Freeform 19"/>
                <p:cNvSpPr>
                  <a:spLocks/>
                </p:cNvSpPr>
                <p:nvPr/>
              </p:nvSpPr>
              <p:spPr bwMode="auto">
                <a:xfrm>
                  <a:off x="-1499" y="1682"/>
                  <a:ext cx="8" cy="3"/>
                </a:xfrm>
                <a:custGeom>
                  <a:avLst/>
                  <a:gdLst>
                    <a:gd name="T0" fmla="*/ 3 w 4"/>
                    <a:gd name="T1" fmla="*/ 0 h 1"/>
                    <a:gd name="T2" fmla="*/ 0 w 4"/>
                    <a:gd name="T3" fmla="*/ 0 h 1"/>
                    <a:gd name="T4" fmla="*/ 1 w 4"/>
                    <a:gd name="T5" fmla="*/ 1 h 1"/>
                    <a:gd name="T6" fmla="*/ 4 w 4"/>
                    <a:gd name="T7" fmla="*/ 1 h 1"/>
                    <a:gd name="T8" fmla="*/ 3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59" name="Freeform 20"/>
                <p:cNvSpPr>
                  <a:spLocks noEditPoints="1"/>
                </p:cNvSpPr>
                <p:nvPr/>
              </p:nvSpPr>
              <p:spPr bwMode="auto">
                <a:xfrm>
                  <a:off x="-2619" y="2810"/>
                  <a:ext cx="179" cy="3"/>
                </a:xfrm>
                <a:custGeom>
                  <a:avLst/>
                  <a:gdLst>
                    <a:gd name="T0" fmla="*/ 178 w 178"/>
                    <a:gd name="T1" fmla="*/ 2 h 2"/>
                    <a:gd name="T2" fmla="*/ 178 w 178"/>
                    <a:gd name="T3" fmla="*/ 0 h 2"/>
                    <a:gd name="T4" fmla="*/ 178 w 178"/>
                    <a:gd name="T5" fmla="*/ 2 h 2"/>
                    <a:gd name="T6" fmla="*/ 0 w 178"/>
                    <a:gd name="T7" fmla="*/ 0 h 2"/>
                    <a:gd name="T8" fmla="*/ 0 w 178"/>
                    <a:gd name="T9" fmla="*/ 2 h 2"/>
                    <a:gd name="T10" fmla="*/ 0 w 178"/>
                    <a:gd name="T11" fmla="*/ 2 h 2"/>
                    <a:gd name="T12" fmla="*/ 0 w 178"/>
                    <a:gd name="T13" fmla="*/ 2 h 2"/>
                    <a:gd name="T14" fmla="*/ 0 w 178"/>
                    <a:gd name="T15" fmla="*/ 0 h 2"/>
                    <a:gd name="T16" fmla="*/ 178 w 178"/>
                    <a:gd name="T17" fmla="*/ 0 h 2"/>
                    <a:gd name="T18" fmla="*/ 178 w 178"/>
                    <a:gd name="T19" fmla="*/ 0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78" h="2">
                      <a:moveTo>
                        <a:pt x="178" y="2"/>
                      </a:moveTo>
                      <a:lnTo>
                        <a:pt x="178" y="0"/>
                      </a:lnTo>
                      <a:lnTo>
                        <a:pt x="178" y="2"/>
                      </a:lnTo>
                      <a:close/>
                      <a:moveTo>
                        <a:pt x="0" y="0"/>
                      </a:moveTo>
                      <a:lnTo>
                        <a:pt x="0" y="2"/>
                      </a:lnTo>
                      <a:lnTo>
                        <a:pt x="0" y="0"/>
                      </a:lnTo>
                      <a:close/>
                      <a:moveTo>
                        <a:pt x="178" y="0"/>
                      </a:move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60" name="Freeform 21"/>
                <p:cNvSpPr>
                  <a:spLocks noEditPoints="1"/>
                </p:cNvSpPr>
                <p:nvPr/>
              </p:nvSpPr>
              <p:spPr bwMode="auto">
                <a:xfrm>
                  <a:off x="-2619" y="2810"/>
                  <a:ext cx="179" cy="3"/>
                </a:xfrm>
                <a:custGeom>
                  <a:avLst/>
                  <a:gdLst>
                    <a:gd name="T0" fmla="*/ 178 w 178"/>
                    <a:gd name="T1" fmla="*/ 2 h 2"/>
                    <a:gd name="T2" fmla="*/ 178 w 178"/>
                    <a:gd name="T3" fmla="*/ 0 h 2"/>
                    <a:gd name="T4" fmla="*/ 0 w 178"/>
                    <a:gd name="T5" fmla="*/ 0 h 2"/>
                    <a:gd name="T6" fmla="*/ 0 w 178"/>
                    <a:gd name="T7" fmla="*/ 2 h 2"/>
                    <a:gd name="T8" fmla="*/ 0 w 178"/>
                    <a:gd name="T9" fmla="*/ 2 h 2"/>
                    <a:gd name="T10" fmla="*/ 0 w 178"/>
                    <a:gd name="T11" fmla="*/ 2 h 2"/>
                    <a:gd name="T12" fmla="*/ 178 w 178"/>
                    <a:gd name="T13" fmla="*/ 0 h 2"/>
                    <a:gd name="T14" fmla="*/ 178 w 178"/>
                    <a:gd name="T15" fmla="*/ 0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8" h="2">
                      <a:moveTo>
                        <a:pt x="178" y="2"/>
                      </a:moveTo>
                      <a:lnTo>
                        <a:pt x="178" y="0"/>
                      </a:lnTo>
                      <a:moveTo>
                        <a:pt x="0" y="0"/>
                      </a:moveTo>
                      <a:lnTo>
                        <a:pt x="0" y="2"/>
                      </a:lnTo>
                      <a:moveTo>
                        <a:pt x="178" y="0"/>
                      </a:move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61" name="Freeform 22"/>
                <p:cNvSpPr>
                  <a:spLocks/>
                </p:cNvSpPr>
                <p:nvPr/>
              </p:nvSpPr>
              <p:spPr bwMode="auto">
                <a:xfrm>
                  <a:off x="-1032" y="2810"/>
                  <a:ext cx="5" cy="3"/>
                </a:xfrm>
                <a:custGeom>
                  <a:avLst/>
                  <a:gdLst>
                    <a:gd name="T0" fmla="*/ 5 w 5"/>
                    <a:gd name="T1" fmla="*/ 0 h 2"/>
                    <a:gd name="T2" fmla="*/ 0 w 5"/>
                    <a:gd name="T3" fmla="*/ 0 h 2"/>
                    <a:gd name="T4" fmla="*/ 0 w 5"/>
                    <a:gd name="T5" fmla="*/ 2 h 2"/>
                    <a:gd name="T6" fmla="*/ 5 w 5"/>
                    <a:gd name="T7" fmla="*/ 2 h 2"/>
                    <a:gd name="T8" fmla="*/ 5 w 5"/>
                    <a:gd name="T9" fmla="*/ 0 h 2"/>
                    <a:gd name="T10" fmla="*/ 5 w 5"/>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2">
                      <a:moveTo>
                        <a:pt x="5" y="0"/>
                      </a:moveTo>
                      <a:lnTo>
                        <a:pt x="0" y="0"/>
                      </a:lnTo>
                      <a:lnTo>
                        <a:pt x="0" y="2"/>
                      </a:lnTo>
                      <a:lnTo>
                        <a:pt x="5" y="2"/>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62" name="Freeform 23"/>
                <p:cNvSpPr>
                  <a:spLocks/>
                </p:cNvSpPr>
                <p:nvPr/>
              </p:nvSpPr>
              <p:spPr bwMode="auto">
                <a:xfrm>
                  <a:off x="-940" y="3276"/>
                  <a:ext cx="8"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63" name="Freeform 24"/>
                <p:cNvSpPr>
                  <a:spLocks noEditPoints="1"/>
                </p:cNvSpPr>
                <p:nvPr/>
              </p:nvSpPr>
              <p:spPr bwMode="auto">
                <a:xfrm>
                  <a:off x="-3885" y="3352"/>
                  <a:ext cx="396" cy="0"/>
                </a:xfrm>
                <a:custGeom>
                  <a:avLst/>
                  <a:gdLst>
                    <a:gd name="T0" fmla="*/ 0 w 167"/>
                    <a:gd name="T1" fmla="*/ 0 w 167"/>
                    <a:gd name="T2" fmla="*/ 4 w 167"/>
                    <a:gd name="T3" fmla="*/ 15 w 167"/>
                    <a:gd name="T4" fmla="*/ 10 w 167"/>
                    <a:gd name="T5" fmla="*/ 15 w 167"/>
                    <a:gd name="T6" fmla="*/ 20 w 167"/>
                    <a:gd name="T7" fmla="*/ 25 w 167"/>
                    <a:gd name="T8" fmla="*/ 36 w 167"/>
                    <a:gd name="T9" fmla="*/ 30 w 167"/>
                    <a:gd name="T10" fmla="*/ 36 w 167"/>
                    <a:gd name="T11" fmla="*/ 43 w 167"/>
                    <a:gd name="T12" fmla="*/ 46 w 167"/>
                    <a:gd name="T13" fmla="*/ 56 w 167"/>
                    <a:gd name="T14" fmla="*/ 51 w 167"/>
                    <a:gd name="T15" fmla="*/ 56 w 167"/>
                    <a:gd name="T16" fmla="*/ 62 w 167"/>
                    <a:gd name="T17" fmla="*/ 67 w 167"/>
                    <a:gd name="T18" fmla="*/ 77 w 167"/>
                    <a:gd name="T19" fmla="*/ 72 w 167"/>
                    <a:gd name="T20" fmla="*/ 77 w 167"/>
                    <a:gd name="T21" fmla="*/ 82 w 167"/>
                    <a:gd name="T22" fmla="*/ 84 w 167"/>
                    <a:gd name="T23" fmla="*/ 88 w 167"/>
                    <a:gd name="T24" fmla="*/ 86 w 167"/>
                    <a:gd name="T25" fmla="*/ 88 w 167"/>
                    <a:gd name="T26" fmla="*/ 93 w 167"/>
                    <a:gd name="T27" fmla="*/ 98 w 167"/>
                    <a:gd name="T28" fmla="*/ 108 w 167"/>
                    <a:gd name="T29" fmla="*/ 103 w 167"/>
                    <a:gd name="T30" fmla="*/ 108 w 167"/>
                    <a:gd name="T31" fmla="*/ 114 w 167"/>
                    <a:gd name="T32" fmla="*/ 119 w 167"/>
                    <a:gd name="T33" fmla="*/ 126 w 167"/>
                    <a:gd name="T34" fmla="*/ 124 w 167"/>
                    <a:gd name="T35" fmla="*/ 126 w 167"/>
                    <a:gd name="T36" fmla="*/ 128 w 167"/>
                    <a:gd name="T37" fmla="*/ 129 w 167"/>
                    <a:gd name="T38" fmla="*/ 140 w 167"/>
                    <a:gd name="T39" fmla="*/ 134 w 167"/>
                    <a:gd name="T40" fmla="*/ 140 w 167"/>
                    <a:gd name="T41" fmla="*/ 145 w 167"/>
                    <a:gd name="T42" fmla="*/ 150 w 167"/>
                    <a:gd name="T43" fmla="*/ 160 w 167"/>
                    <a:gd name="T44" fmla="*/ 155 w 167"/>
                    <a:gd name="T45" fmla="*/ 160 w 167"/>
                    <a:gd name="T46" fmla="*/ 166 w 167"/>
                    <a:gd name="T47" fmla="*/ 167 w 16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48">
                      <a:pos x="T0" y="0"/>
                    </a:cxn>
                    <a:cxn ang="T49">
                      <a:pos x="T1" y="0"/>
                    </a:cxn>
                    <a:cxn ang="T50">
                      <a:pos x="T2" y="0"/>
                    </a:cxn>
                    <a:cxn ang="T51">
                      <a:pos x="T3" y="0"/>
                    </a:cxn>
                    <a:cxn ang="T52">
                      <a:pos x="T4" y="0"/>
                    </a:cxn>
                    <a:cxn ang="T53">
                      <a:pos x="T5" y="0"/>
                    </a:cxn>
                    <a:cxn ang="T54">
                      <a:pos x="T6" y="0"/>
                    </a:cxn>
                    <a:cxn ang="T55">
                      <a:pos x="T7" y="0"/>
                    </a:cxn>
                    <a:cxn ang="T56">
                      <a:pos x="T8" y="0"/>
                    </a:cxn>
                    <a:cxn ang="T57">
                      <a:pos x="T9" y="0"/>
                    </a:cxn>
                    <a:cxn ang="T58">
                      <a:pos x="T10" y="0"/>
                    </a:cxn>
                    <a:cxn ang="T59">
                      <a:pos x="T11" y="0"/>
                    </a:cxn>
                    <a:cxn ang="T60">
                      <a:pos x="T12" y="0"/>
                    </a:cxn>
                    <a:cxn ang="T61">
                      <a:pos x="T13" y="0"/>
                    </a:cxn>
                    <a:cxn ang="T62">
                      <a:pos x="T14" y="0"/>
                    </a:cxn>
                    <a:cxn ang="T63">
                      <a:pos x="T15" y="0"/>
                    </a:cxn>
                    <a:cxn ang="T64">
                      <a:pos x="T16" y="0"/>
                    </a:cxn>
                    <a:cxn ang="T65">
                      <a:pos x="T17" y="0"/>
                    </a:cxn>
                    <a:cxn ang="T66">
                      <a:pos x="T18" y="0"/>
                    </a:cxn>
                    <a:cxn ang="T67">
                      <a:pos x="T19" y="0"/>
                    </a:cxn>
                    <a:cxn ang="T68">
                      <a:pos x="T20" y="0"/>
                    </a:cxn>
                    <a:cxn ang="T69">
                      <a:pos x="T21" y="0"/>
                    </a:cxn>
                    <a:cxn ang="T70">
                      <a:pos x="T22" y="0"/>
                    </a:cxn>
                    <a:cxn ang="T71">
                      <a:pos x="T23" y="0"/>
                    </a:cxn>
                    <a:cxn ang="T72">
                      <a:pos x="T24" y="0"/>
                    </a:cxn>
                    <a:cxn ang="T73">
                      <a:pos x="T25" y="0"/>
                    </a:cxn>
                    <a:cxn ang="T74">
                      <a:pos x="T26" y="0"/>
                    </a:cxn>
                    <a:cxn ang="T75">
                      <a:pos x="T27" y="0"/>
                    </a:cxn>
                    <a:cxn ang="T76">
                      <a:pos x="T28" y="0"/>
                    </a:cxn>
                    <a:cxn ang="T77">
                      <a:pos x="T29" y="0"/>
                    </a:cxn>
                    <a:cxn ang="T78">
                      <a:pos x="T30" y="0"/>
                    </a:cxn>
                    <a:cxn ang="T79">
                      <a:pos x="T31" y="0"/>
                    </a:cxn>
                    <a:cxn ang="T80">
                      <a:pos x="T32" y="0"/>
                    </a:cxn>
                    <a:cxn ang="T81">
                      <a:pos x="T33" y="0"/>
                    </a:cxn>
                    <a:cxn ang="T82">
                      <a:pos x="T34" y="0"/>
                    </a:cxn>
                    <a:cxn ang="T83">
                      <a:pos x="T35" y="0"/>
                    </a:cxn>
                    <a:cxn ang="T84">
                      <a:pos x="T36" y="0"/>
                    </a:cxn>
                    <a:cxn ang="T85">
                      <a:pos x="T37" y="0"/>
                    </a:cxn>
                    <a:cxn ang="T86">
                      <a:pos x="T38" y="0"/>
                    </a:cxn>
                    <a:cxn ang="T87">
                      <a:pos x="T39" y="0"/>
                    </a:cxn>
                    <a:cxn ang="T88">
                      <a:pos x="T40" y="0"/>
                    </a:cxn>
                    <a:cxn ang="T89">
                      <a:pos x="T41" y="0"/>
                    </a:cxn>
                    <a:cxn ang="T90">
                      <a:pos x="T42" y="0"/>
                    </a:cxn>
                    <a:cxn ang="T91">
                      <a:pos x="T43" y="0"/>
                    </a:cxn>
                    <a:cxn ang="T92">
                      <a:pos x="T44" y="0"/>
                    </a:cxn>
                    <a:cxn ang="T93">
                      <a:pos x="T45" y="0"/>
                    </a:cxn>
                    <a:cxn ang="T94">
                      <a:pos x="T46" y="0"/>
                    </a:cxn>
                    <a:cxn ang="T95">
                      <a:pos x="T4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64" name="Freeform 25"/>
                <p:cNvSpPr>
                  <a:spLocks noEditPoints="1"/>
                </p:cNvSpPr>
                <p:nvPr/>
              </p:nvSpPr>
              <p:spPr bwMode="auto">
                <a:xfrm>
                  <a:off x="-2902" y="3355"/>
                  <a:ext cx="286" cy="2"/>
                </a:xfrm>
                <a:custGeom>
                  <a:avLst/>
                  <a:gdLst>
                    <a:gd name="T0" fmla="*/ 0 w 121"/>
                    <a:gd name="T1" fmla="*/ 0 h 1"/>
                    <a:gd name="T2" fmla="*/ 0 w 121"/>
                    <a:gd name="T3" fmla="*/ 0 h 1"/>
                    <a:gd name="T4" fmla="*/ 0 w 121"/>
                    <a:gd name="T5" fmla="*/ 1 h 1"/>
                    <a:gd name="T6" fmla="*/ 0 w 121"/>
                    <a:gd name="T7" fmla="*/ 1 h 1"/>
                    <a:gd name="T8" fmla="*/ 0 w 121"/>
                    <a:gd name="T9" fmla="*/ 0 h 1"/>
                    <a:gd name="T10" fmla="*/ 121 w 121"/>
                    <a:gd name="T11" fmla="*/ 0 h 1"/>
                    <a:gd name="T12" fmla="*/ 120 w 121"/>
                    <a:gd name="T13" fmla="*/ 0 h 1"/>
                    <a:gd name="T14" fmla="*/ 120 w 121"/>
                    <a:gd name="T15" fmla="*/ 1 h 1"/>
                    <a:gd name="T16" fmla="*/ 120 w 121"/>
                    <a:gd name="T17" fmla="*/ 1 h 1"/>
                    <a:gd name="T18" fmla="*/ 121 w 121"/>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65" name="Freeform 26"/>
                <p:cNvSpPr>
                  <a:spLocks noEditPoints="1"/>
                </p:cNvSpPr>
                <p:nvPr/>
              </p:nvSpPr>
              <p:spPr bwMode="auto">
                <a:xfrm>
                  <a:off x="-2020" y="3355"/>
                  <a:ext cx="84" cy="2"/>
                </a:xfrm>
                <a:custGeom>
                  <a:avLst/>
                  <a:gdLst>
                    <a:gd name="T0" fmla="*/ 0 w 36"/>
                    <a:gd name="T1" fmla="*/ 0 h 1"/>
                    <a:gd name="T2" fmla="*/ 0 w 36"/>
                    <a:gd name="T3" fmla="*/ 0 h 1"/>
                    <a:gd name="T4" fmla="*/ 0 w 36"/>
                    <a:gd name="T5" fmla="*/ 1 h 1"/>
                    <a:gd name="T6" fmla="*/ 0 w 36"/>
                    <a:gd name="T7" fmla="*/ 1 h 1"/>
                    <a:gd name="T8" fmla="*/ 0 w 36"/>
                    <a:gd name="T9" fmla="*/ 0 h 1"/>
                    <a:gd name="T10" fmla="*/ 36 w 36"/>
                    <a:gd name="T11" fmla="*/ 0 h 1"/>
                    <a:gd name="T12" fmla="*/ 36 w 36"/>
                    <a:gd name="T13" fmla="*/ 0 h 1"/>
                    <a:gd name="T14" fmla="*/ 36 w 36"/>
                    <a:gd name="T15" fmla="*/ 0 h 1"/>
                    <a:gd name="T16" fmla="*/ 36 w 36"/>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66" name="Freeform 27"/>
                <p:cNvSpPr>
                  <a:spLocks/>
                </p:cNvSpPr>
                <p:nvPr/>
              </p:nvSpPr>
              <p:spPr bwMode="auto">
                <a:xfrm>
                  <a:off x="-912" y="3355"/>
                  <a:ext cx="3" cy="2"/>
                </a:xfrm>
                <a:custGeom>
                  <a:avLst/>
                  <a:gdLst>
                    <a:gd name="T0" fmla="*/ 1 w 1"/>
                    <a:gd name="T1" fmla="*/ 0 h 1"/>
                    <a:gd name="T2" fmla="*/ 0 w 1"/>
                    <a:gd name="T3" fmla="*/ 0 h 1"/>
                    <a:gd name="T4" fmla="*/ 0 w 1"/>
                    <a:gd name="T5" fmla="*/ 1 h 1"/>
                    <a:gd name="T6" fmla="*/ 1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67" name="Freeform 28"/>
                <p:cNvSpPr>
                  <a:spLocks/>
                </p:cNvSpPr>
                <p:nvPr/>
              </p:nvSpPr>
              <p:spPr bwMode="auto">
                <a:xfrm>
                  <a:off x="-810" y="3357"/>
                  <a:ext cx="3" cy="0"/>
                </a:xfrm>
                <a:custGeom>
                  <a:avLst/>
                  <a:gdLst>
                    <a:gd name="T0" fmla="*/ 1 w 1"/>
                    <a:gd name="T1" fmla="*/ 0 w 1"/>
                    <a:gd name="T2" fmla="*/ 1 w 1"/>
                    <a:gd name="T3" fmla="*/ 1 w 1"/>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68" name="Freeform 29"/>
                <p:cNvSpPr>
                  <a:spLocks/>
                </p:cNvSpPr>
                <p:nvPr/>
              </p:nvSpPr>
              <p:spPr bwMode="auto">
                <a:xfrm>
                  <a:off x="-1050" y="2498"/>
                  <a:ext cx="7"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69" name="Freeform 30"/>
                <p:cNvSpPr>
                  <a:spLocks/>
                </p:cNvSpPr>
                <p:nvPr/>
              </p:nvSpPr>
              <p:spPr bwMode="auto">
                <a:xfrm>
                  <a:off x="-1103" y="2256"/>
                  <a:ext cx="5" cy="3"/>
                </a:xfrm>
                <a:custGeom>
                  <a:avLst/>
                  <a:gdLst>
                    <a:gd name="T0" fmla="*/ 2 w 3"/>
                    <a:gd name="T1" fmla="*/ 0 h 1"/>
                    <a:gd name="T2" fmla="*/ 0 w 3"/>
                    <a:gd name="T3" fmla="*/ 0 h 1"/>
                    <a:gd name="T4" fmla="*/ 0 w 3"/>
                    <a:gd name="T5" fmla="*/ 1 h 1"/>
                    <a:gd name="T6" fmla="*/ 3 w 3"/>
                    <a:gd name="T7" fmla="*/ 1 h 1"/>
                    <a:gd name="T8" fmla="*/ 2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70" name="Freeform 31"/>
                <p:cNvSpPr>
                  <a:spLocks/>
                </p:cNvSpPr>
                <p:nvPr/>
              </p:nvSpPr>
              <p:spPr bwMode="auto">
                <a:xfrm>
                  <a:off x="-2381" y="1987"/>
                  <a:ext cx="90" cy="270"/>
                </a:xfrm>
                <a:custGeom>
                  <a:avLst/>
                  <a:gdLst>
                    <a:gd name="T0" fmla="*/ 39 w 39"/>
                    <a:gd name="T1" fmla="*/ 0 h 114"/>
                    <a:gd name="T2" fmla="*/ 37 w 39"/>
                    <a:gd name="T3" fmla="*/ 0 h 114"/>
                    <a:gd name="T4" fmla="*/ 35 w 39"/>
                    <a:gd name="T5" fmla="*/ 5 h 114"/>
                    <a:gd name="T6" fmla="*/ 0 w 39"/>
                    <a:gd name="T7" fmla="*/ 114 h 114"/>
                    <a:gd name="T8" fmla="*/ 2 w 39"/>
                    <a:gd name="T9" fmla="*/ 114 h 114"/>
                    <a:gd name="T10" fmla="*/ 5 w 39"/>
                    <a:gd name="T11" fmla="*/ 101 h 114"/>
                    <a:gd name="T12" fmla="*/ 5 w 39"/>
                    <a:gd name="T13" fmla="*/ 101 h 114"/>
                    <a:gd name="T14" fmla="*/ 5 w 39"/>
                    <a:gd name="T15" fmla="*/ 100 h 114"/>
                    <a:gd name="T16" fmla="*/ 6 w 39"/>
                    <a:gd name="T17" fmla="*/ 100 h 114"/>
                    <a:gd name="T18" fmla="*/ 12 w 39"/>
                    <a:gd name="T19" fmla="*/ 77 h 114"/>
                    <a:gd name="T20" fmla="*/ 29 w 39"/>
                    <a:gd name="T21" fmla="*/ 26 h 114"/>
                    <a:gd name="T22" fmla="*/ 35 w 39"/>
                    <a:gd name="T23" fmla="*/ 11 h 114"/>
                    <a:gd name="T24" fmla="*/ 37 w 39"/>
                    <a:gd name="T25" fmla="*/ 6 h 114"/>
                    <a:gd name="T26" fmla="*/ 37 w 39"/>
                    <a:gd name="T27" fmla="*/ 6 h 114"/>
                    <a:gd name="T28" fmla="*/ 37 w 39"/>
                    <a:gd name="T29" fmla="*/ 6 h 114"/>
                    <a:gd name="T30" fmla="*/ 39 w 39"/>
                    <a:gd name="T31" fmla="*/ 0 h 1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71" name="Freeform 32"/>
                <p:cNvSpPr>
                  <a:spLocks/>
                </p:cNvSpPr>
                <p:nvPr/>
              </p:nvSpPr>
              <p:spPr bwMode="auto">
                <a:xfrm>
                  <a:off x="-2370" y="2222"/>
                  <a:ext cx="3" cy="3"/>
                </a:xfrm>
                <a:custGeom>
                  <a:avLst/>
                  <a:gdLst>
                    <a:gd name="T0" fmla="*/ 1 w 1"/>
                    <a:gd name="T1" fmla="*/ 0 h 1"/>
                    <a:gd name="T2" fmla="*/ 0 w 1"/>
                    <a:gd name="T3" fmla="*/ 0 h 1"/>
                    <a:gd name="T4" fmla="*/ 0 w 1"/>
                    <a:gd name="T5" fmla="*/ 1 h 1"/>
                    <a:gd name="T6" fmla="*/ 0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72" name="Freeform 33"/>
                <p:cNvSpPr>
                  <a:spLocks noEditPoints="1"/>
                </p:cNvSpPr>
                <p:nvPr/>
              </p:nvSpPr>
              <p:spPr bwMode="auto">
                <a:xfrm>
                  <a:off x="-2417" y="1522"/>
                  <a:ext cx="416" cy="1054"/>
                </a:xfrm>
                <a:custGeom>
                  <a:avLst/>
                  <a:gdLst>
                    <a:gd name="T0" fmla="*/ 2 w 176"/>
                    <a:gd name="T1" fmla="*/ 413 h 445"/>
                    <a:gd name="T2" fmla="*/ 0 w 176"/>
                    <a:gd name="T3" fmla="*/ 413 h 445"/>
                    <a:gd name="T4" fmla="*/ 0 w 176"/>
                    <a:gd name="T5" fmla="*/ 421 h 445"/>
                    <a:gd name="T6" fmla="*/ 1 w 176"/>
                    <a:gd name="T7" fmla="*/ 445 h 445"/>
                    <a:gd name="T8" fmla="*/ 1 w 176"/>
                    <a:gd name="T9" fmla="*/ 445 h 445"/>
                    <a:gd name="T10" fmla="*/ 1 w 176"/>
                    <a:gd name="T11" fmla="*/ 445 h 445"/>
                    <a:gd name="T12" fmla="*/ 2 w 176"/>
                    <a:gd name="T13" fmla="*/ 445 h 445"/>
                    <a:gd name="T14" fmla="*/ 3 w 176"/>
                    <a:gd name="T15" fmla="*/ 445 h 445"/>
                    <a:gd name="T16" fmla="*/ 2 w 176"/>
                    <a:gd name="T17" fmla="*/ 421 h 445"/>
                    <a:gd name="T18" fmla="*/ 2 w 176"/>
                    <a:gd name="T19" fmla="*/ 413 h 445"/>
                    <a:gd name="T20" fmla="*/ 17 w 176"/>
                    <a:gd name="T21" fmla="*/ 311 h 445"/>
                    <a:gd name="T22" fmla="*/ 15 w 176"/>
                    <a:gd name="T23" fmla="*/ 311 h 445"/>
                    <a:gd name="T24" fmla="*/ 0 w 176"/>
                    <a:gd name="T25" fmla="*/ 412 h 445"/>
                    <a:gd name="T26" fmla="*/ 2 w 176"/>
                    <a:gd name="T27" fmla="*/ 412 h 445"/>
                    <a:gd name="T28" fmla="*/ 17 w 176"/>
                    <a:gd name="T29" fmla="*/ 311 h 445"/>
                    <a:gd name="T30" fmla="*/ 89 w 176"/>
                    <a:gd name="T31" fmla="*/ 99 h 445"/>
                    <a:gd name="T32" fmla="*/ 87 w 176"/>
                    <a:gd name="T33" fmla="*/ 99 h 445"/>
                    <a:gd name="T34" fmla="*/ 68 w 176"/>
                    <a:gd name="T35" fmla="*/ 147 h 445"/>
                    <a:gd name="T36" fmla="*/ 52 w 176"/>
                    <a:gd name="T37" fmla="*/ 195 h 445"/>
                    <a:gd name="T38" fmla="*/ 54 w 176"/>
                    <a:gd name="T39" fmla="*/ 195 h 445"/>
                    <a:gd name="T40" fmla="*/ 70 w 176"/>
                    <a:gd name="T41" fmla="*/ 147 h 445"/>
                    <a:gd name="T42" fmla="*/ 89 w 176"/>
                    <a:gd name="T43" fmla="*/ 99 h 445"/>
                    <a:gd name="T44" fmla="*/ 175 w 176"/>
                    <a:gd name="T45" fmla="*/ 0 h 445"/>
                    <a:gd name="T46" fmla="*/ 175 w 176"/>
                    <a:gd name="T47" fmla="*/ 0 h 445"/>
                    <a:gd name="T48" fmla="*/ 88 w 176"/>
                    <a:gd name="T49" fmla="*/ 97 h 445"/>
                    <a:gd name="T50" fmla="*/ 87 w 176"/>
                    <a:gd name="T51" fmla="*/ 98 h 445"/>
                    <a:gd name="T52" fmla="*/ 90 w 176"/>
                    <a:gd name="T53" fmla="*/ 98 h 445"/>
                    <a:gd name="T54" fmla="*/ 90 w 176"/>
                    <a:gd name="T55" fmla="*/ 98 h 445"/>
                    <a:gd name="T56" fmla="*/ 141 w 176"/>
                    <a:gd name="T57" fmla="*/ 29 h 445"/>
                    <a:gd name="T58" fmla="*/ 165 w 176"/>
                    <a:gd name="T59" fmla="*/ 9 h 445"/>
                    <a:gd name="T60" fmla="*/ 173 w 176"/>
                    <a:gd name="T61" fmla="*/ 4 h 445"/>
                    <a:gd name="T62" fmla="*/ 176 w 176"/>
                    <a:gd name="T63" fmla="*/ 2 h 445"/>
                    <a:gd name="T64" fmla="*/ 175 w 176"/>
                    <a:gd name="T65" fmla="*/ 0 h 44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73" name="Freeform 34"/>
                <p:cNvSpPr>
                  <a:spLocks/>
                </p:cNvSpPr>
                <p:nvPr/>
              </p:nvSpPr>
              <p:spPr bwMode="auto">
                <a:xfrm>
                  <a:off x="-2210" y="1754"/>
                  <a:ext cx="7" cy="2"/>
                </a:xfrm>
                <a:custGeom>
                  <a:avLst/>
                  <a:gdLst>
                    <a:gd name="T0" fmla="*/ 3 w 3"/>
                    <a:gd name="T1" fmla="*/ 0 h 1"/>
                    <a:gd name="T2" fmla="*/ 0 w 3"/>
                    <a:gd name="T3" fmla="*/ 0 h 1"/>
                    <a:gd name="T4" fmla="*/ 0 w 3"/>
                    <a:gd name="T5" fmla="*/ 1 h 1"/>
                    <a:gd name="T6" fmla="*/ 2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74" name="Freeform 35"/>
                <p:cNvSpPr>
                  <a:spLocks/>
                </p:cNvSpPr>
                <p:nvPr/>
              </p:nvSpPr>
              <p:spPr bwMode="auto">
                <a:xfrm>
                  <a:off x="-2417" y="2498"/>
                  <a:ext cx="3"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75" name="Freeform 36"/>
                <p:cNvSpPr>
                  <a:spLocks/>
                </p:cNvSpPr>
                <p:nvPr/>
              </p:nvSpPr>
              <p:spPr bwMode="auto">
                <a:xfrm>
                  <a:off x="-2381" y="2256"/>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76" name="Freeform 37"/>
                <p:cNvSpPr>
                  <a:spLocks noEditPoints="1"/>
                </p:cNvSpPr>
                <p:nvPr/>
              </p:nvSpPr>
              <p:spPr bwMode="auto">
                <a:xfrm>
                  <a:off x="-2200" y="1987"/>
                  <a:ext cx="54" cy="270"/>
                </a:xfrm>
                <a:custGeom>
                  <a:avLst/>
                  <a:gdLst>
                    <a:gd name="T0" fmla="*/ 2 w 23"/>
                    <a:gd name="T1" fmla="*/ 101 h 114"/>
                    <a:gd name="T2" fmla="*/ 0 w 23"/>
                    <a:gd name="T3" fmla="*/ 114 h 114"/>
                    <a:gd name="T4" fmla="*/ 2 w 23"/>
                    <a:gd name="T5" fmla="*/ 114 h 114"/>
                    <a:gd name="T6" fmla="*/ 3 w 23"/>
                    <a:gd name="T7" fmla="*/ 101 h 114"/>
                    <a:gd name="T8" fmla="*/ 2 w 23"/>
                    <a:gd name="T9" fmla="*/ 101 h 114"/>
                    <a:gd name="T10" fmla="*/ 2 w 23"/>
                    <a:gd name="T11" fmla="*/ 101 h 114"/>
                    <a:gd name="T12" fmla="*/ 23 w 23"/>
                    <a:gd name="T13" fmla="*/ 0 h 114"/>
                    <a:gd name="T14" fmla="*/ 20 w 23"/>
                    <a:gd name="T15" fmla="*/ 0 h 114"/>
                    <a:gd name="T16" fmla="*/ 2 w 23"/>
                    <a:gd name="T17" fmla="*/ 100 h 114"/>
                    <a:gd name="T18" fmla="*/ 4 w 23"/>
                    <a:gd name="T19" fmla="*/ 100 h 114"/>
                    <a:gd name="T20" fmla="*/ 23 w 23"/>
                    <a:gd name="T21" fmla="*/ 0 h 1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77" name="Freeform 38"/>
                <p:cNvSpPr>
                  <a:spLocks/>
                </p:cNvSpPr>
                <p:nvPr/>
              </p:nvSpPr>
              <p:spPr bwMode="auto">
                <a:xfrm>
                  <a:off x="-2197" y="2222"/>
                  <a:ext cx="3" cy="3"/>
                </a:xfrm>
                <a:custGeom>
                  <a:avLst/>
                  <a:gdLst>
                    <a:gd name="T0" fmla="*/ 2 w 2"/>
                    <a:gd name="T1" fmla="*/ 0 h 1"/>
                    <a:gd name="T2" fmla="*/ 0 w 2"/>
                    <a:gd name="T3" fmla="*/ 0 h 1"/>
                    <a:gd name="T4" fmla="*/ 0 w 2"/>
                    <a:gd name="T5" fmla="*/ 1 h 1"/>
                    <a:gd name="T6" fmla="*/ 0 w 2"/>
                    <a:gd name="T7" fmla="*/ 1 h 1"/>
                    <a:gd name="T8" fmla="*/ 1 w 2"/>
                    <a:gd name="T9" fmla="*/ 1 h 1"/>
                    <a:gd name="T10" fmla="*/ 2 w 2"/>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78" name="Freeform 39"/>
                <p:cNvSpPr>
                  <a:spLocks noEditPoints="1"/>
                </p:cNvSpPr>
                <p:nvPr/>
              </p:nvSpPr>
              <p:spPr bwMode="auto">
                <a:xfrm>
                  <a:off x="-2222" y="2260"/>
                  <a:ext cx="85" cy="1016"/>
                </a:xfrm>
                <a:custGeom>
                  <a:avLst/>
                  <a:gdLst>
                    <a:gd name="T0" fmla="*/ 24 w 36"/>
                    <a:gd name="T1" fmla="*/ 343 h 429"/>
                    <a:gd name="T2" fmla="*/ 22 w 36"/>
                    <a:gd name="T3" fmla="*/ 343 h 429"/>
                    <a:gd name="T4" fmla="*/ 30 w 36"/>
                    <a:gd name="T5" fmla="*/ 400 h 429"/>
                    <a:gd name="T6" fmla="*/ 34 w 36"/>
                    <a:gd name="T7" fmla="*/ 429 h 429"/>
                    <a:gd name="T8" fmla="*/ 36 w 36"/>
                    <a:gd name="T9" fmla="*/ 429 h 429"/>
                    <a:gd name="T10" fmla="*/ 32 w 36"/>
                    <a:gd name="T11" fmla="*/ 400 h 429"/>
                    <a:gd name="T12" fmla="*/ 26 w 36"/>
                    <a:gd name="T13" fmla="*/ 360 h 429"/>
                    <a:gd name="T14" fmla="*/ 24 w 36"/>
                    <a:gd name="T15" fmla="*/ 343 h 429"/>
                    <a:gd name="T16" fmla="*/ 9 w 36"/>
                    <a:gd name="T17" fmla="*/ 255 h 429"/>
                    <a:gd name="T18" fmla="*/ 7 w 36"/>
                    <a:gd name="T19" fmla="*/ 255 h 429"/>
                    <a:gd name="T20" fmla="*/ 22 w 36"/>
                    <a:gd name="T21" fmla="*/ 342 h 429"/>
                    <a:gd name="T22" fmla="*/ 24 w 36"/>
                    <a:gd name="T23" fmla="*/ 342 h 429"/>
                    <a:gd name="T24" fmla="*/ 9 w 36"/>
                    <a:gd name="T25" fmla="*/ 255 h 429"/>
                    <a:gd name="T26" fmla="*/ 7 w 36"/>
                    <a:gd name="T27" fmla="*/ 233 h 429"/>
                    <a:gd name="T28" fmla="*/ 5 w 36"/>
                    <a:gd name="T29" fmla="*/ 233 h 429"/>
                    <a:gd name="T30" fmla="*/ 7 w 36"/>
                    <a:gd name="T31" fmla="*/ 254 h 429"/>
                    <a:gd name="T32" fmla="*/ 9 w 36"/>
                    <a:gd name="T33" fmla="*/ 254 h 429"/>
                    <a:gd name="T34" fmla="*/ 7 w 36"/>
                    <a:gd name="T35" fmla="*/ 233 h 429"/>
                    <a:gd name="T36" fmla="*/ 3 w 36"/>
                    <a:gd name="T37" fmla="*/ 102 h 429"/>
                    <a:gd name="T38" fmla="*/ 1 w 36"/>
                    <a:gd name="T39" fmla="*/ 102 h 429"/>
                    <a:gd name="T40" fmla="*/ 1 w 36"/>
                    <a:gd name="T41" fmla="*/ 112 h 429"/>
                    <a:gd name="T42" fmla="*/ 0 w 36"/>
                    <a:gd name="T43" fmla="*/ 125 h 429"/>
                    <a:gd name="T44" fmla="*/ 5 w 36"/>
                    <a:gd name="T45" fmla="*/ 232 h 429"/>
                    <a:gd name="T46" fmla="*/ 7 w 36"/>
                    <a:gd name="T47" fmla="*/ 232 h 429"/>
                    <a:gd name="T48" fmla="*/ 2 w 36"/>
                    <a:gd name="T49" fmla="*/ 125 h 429"/>
                    <a:gd name="T50" fmla="*/ 3 w 36"/>
                    <a:gd name="T51" fmla="*/ 112 h 429"/>
                    <a:gd name="T52" fmla="*/ 3 w 36"/>
                    <a:gd name="T53" fmla="*/ 102 h 429"/>
                    <a:gd name="T54" fmla="*/ 11 w 36"/>
                    <a:gd name="T55" fmla="*/ 0 h 429"/>
                    <a:gd name="T56" fmla="*/ 9 w 36"/>
                    <a:gd name="T57" fmla="*/ 0 h 429"/>
                    <a:gd name="T58" fmla="*/ 1 w 36"/>
                    <a:gd name="T59" fmla="*/ 101 h 429"/>
                    <a:gd name="T60" fmla="*/ 3 w 36"/>
                    <a:gd name="T61" fmla="*/ 101 h 429"/>
                    <a:gd name="T62" fmla="*/ 11 w 36"/>
                    <a:gd name="T63" fmla="*/ 0 h 42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79" name="Freeform 40"/>
                <p:cNvSpPr>
                  <a:spLocks/>
                </p:cNvSpPr>
                <p:nvPr/>
              </p:nvSpPr>
              <p:spPr bwMode="auto">
                <a:xfrm>
                  <a:off x="-2171" y="3070"/>
                  <a:ext cx="5" cy="2"/>
                </a:xfrm>
                <a:custGeom>
                  <a:avLst/>
                  <a:gdLst>
                    <a:gd name="T0" fmla="*/ 2 w 2"/>
                    <a:gd name="T1" fmla="*/ 0 h 1"/>
                    <a:gd name="T2" fmla="*/ 0 w 2"/>
                    <a:gd name="T3" fmla="*/ 0 h 1"/>
                    <a:gd name="T4" fmla="*/ 0 w 2"/>
                    <a:gd name="T5" fmla="*/ 1 h 1"/>
                    <a:gd name="T6" fmla="*/ 0 w 2"/>
                    <a:gd name="T7" fmla="*/ 1 h 1"/>
                    <a:gd name="T8" fmla="*/ 0 w 2"/>
                    <a:gd name="T9" fmla="*/ 1 h 1"/>
                    <a:gd name="T10" fmla="*/ 2 w 2"/>
                    <a:gd name="T11" fmla="*/ 1 h 1"/>
                    <a:gd name="T12" fmla="*/ 2 w 2"/>
                    <a:gd name="T13" fmla="*/ 0 h 1"/>
                    <a:gd name="T14" fmla="*/ 2 w 2"/>
                    <a:gd name="T15" fmla="*/ 0 h 1"/>
                    <a:gd name="T16" fmla="*/ 2 w 2"/>
                    <a:gd name="T17" fmla="*/ 0 h 1"/>
                    <a:gd name="T18" fmla="*/ 2 w 2"/>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80" name="Freeform 41"/>
                <p:cNvSpPr>
                  <a:spLocks/>
                </p:cNvSpPr>
                <p:nvPr/>
              </p:nvSpPr>
              <p:spPr bwMode="auto">
                <a:xfrm>
                  <a:off x="-2207" y="2861"/>
                  <a:ext cx="7"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81" name="Freeform 42"/>
                <p:cNvSpPr>
                  <a:spLocks noEditPoints="1"/>
                </p:cNvSpPr>
                <p:nvPr/>
              </p:nvSpPr>
              <p:spPr bwMode="auto">
                <a:xfrm>
                  <a:off x="-2151" y="1522"/>
                  <a:ext cx="182" cy="1833"/>
                </a:xfrm>
                <a:custGeom>
                  <a:avLst/>
                  <a:gdLst>
                    <a:gd name="T0" fmla="*/ 6 w 77"/>
                    <a:gd name="T1" fmla="*/ 741 h 773"/>
                    <a:gd name="T2" fmla="*/ 4 w 77"/>
                    <a:gd name="T3" fmla="*/ 741 h 773"/>
                    <a:gd name="T4" fmla="*/ 10 w 77"/>
                    <a:gd name="T5" fmla="*/ 773 h 773"/>
                    <a:gd name="T6" fmla="*/ 12 w 77"/>
                    <a:gd name="T7" fmla="*/ 773 h 773"/>
                    <a:gd name="T8" fmla="*/ 6 w 77"/>
                    <a:gd name="T9" fmla="*/ 741 h 773"/>
                    <a:gd name="T10" fmla="*/ 23 w 77"/>
                    <a:gd name="T11" fmla="*/ 99 h 773"/>
                    <a:gd name="T12" fmla="*/ 21 w 77"/>
                    <a:gd name="T13" fmla="*/ 99 h 773"/>
                    <a:gd name="T14" fmla="*/ 9 w 77"/>
                    <a:gd name="T15" fmla="*/ 147 h 773"/>
                    <a:gd name="T16" fmla="*/ 0 w 77"/>
                    <a:gd name="T17" fmla="*/ 195 h 773"/>
                    <a:gd name="T18" fmla="*/ 2 w 77"/>
                    <a:gd name="T19" fmla="*/ 195 h 773"/>
                    <a:gd name="T20" fmla="*/ 11 w 77"/>
                    <a:gd name="T21" fmla="*/ 147 h 773"/>
                    <a:gd name="T22" fmla="*/ 23 w 77"/>
                    <a:gd name="T23" fmla="*/ 99 h 773"/>
                    <a:gd name="T24" fmla="*/ 75 w 77"/>
                    <a:gd name="T25" fmla="*/ 0 h 773"/>
                    <a:gd name="T26" fmla="*/ 75 w 77"/>
                    <a:gd name="T27" fmla="*/ 0 h 773"/>
                    <a:gd name="T28" fmla="*/ 22 w 77"/>
                    <a:gd name="T29" fmla="*/ 98 h 773"/>
                    <a:gd name="T30" fmla="*/ 24 w 77"/>
                    <a:gd name="T31" fmla="*/ 98 h 773"/>
                    <a:gd name="T32" fmla="*/ 51 w 77"/>
                    <a:gd name="T33" fmla="*/ 38 h 773"/>
                    <a:gd name="T34" fmla="*/ 69 w 77"/>
                    <a:gd name="T35" fmla="*/ 11 h 773"/>
                    <a:gd name="T36" fmla="*/ 75 w 77"/>
                    <a:gd name="T37" fmla="*/ 4 h 773"/>
                    <a:gd name="T38" fmla="*/ 76 w 77"/>
                    <a:gd name="T39" fmla="*/ 2 h 773"/>
                    <a:gd name="T40" fmla="*/ 77 w 77"/>
                    <a:gd name="T41" fmla="*/ 2 h 773"/>
                    <a:gd name="T42" fmla="*/ 75 w 77"/>
                    <a:gd name="T43" fmla="*/ 0 h 77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82" name="Freeform 43"/>
                <p:cNvSpPr>
                  <a:spLocks/>
                </p:cNvSpPr>
                <p:nvPr/>
              </p:nvSpPr>
              <p:spPr bwMode="auto">
                <a:xfrm>
                  <a:off x="-2103" y="1754"/>
                  <a:ext cx="8" cy="2"/>
                </a:xfrm>
                <a:custGeom>
                  <a:avLst/>
                  <a:gdLst>
                    <a:gd name="T0" fmla="*/ 3 w 3"/>
                    <a:gd name="T1" fmla="*/ 0 h 1"/>
                    <a:gd name="T2" fmla="*/ 1 w 3"/>
                    <a:gd name="T3" fmla="*/ 0 h 1"/>
                    <a:gd name="T4" fmla="*/ 0 w 3"/>
                    <a:gd name="T5" fmla="*/ 1 h 1"/>
                    <a:gd name="T6" fmla="*/ 2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83" name="Freeform 44"/>
                <p:cNvSpPr>
                  <a:spLocks/>
                </p:cNvSpPr>
                <p:nvPr/>
              </p:nvSpPr>
              <p:spPr bwMode="auto">
                <a:xfrm>
                  <a:off x="-2210" y="2810"/>
                  <a:ext cx="3"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84" name="Freeform 45"/>
                <p:cNvSpPr>
                  <a:spLocks/>
                </p:cNvSpPr>
                <p:nvPr/>
              </p:nvSpPr>
              <p:spPr bwMode="auto">
                <a:xfrm>
                  <a:off x="-2145" y="3276"/>
                  <a:ext cx="7"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85" name="Freeform 46"/>
                <p:cNvSpPr>
                  <a:spLocks/>
                </p:cNvSpPr>
                <p:nvPr/>
              </p:nvSpPr>
              <p:spPr bwMode="auto">
                <a:xfrm>
                  <a:off x="-2128" y="3357"/>
                  <a:ext cx="12" cy="26"/>
                </a:xfrm>
                <a:custGeom>
                  <a:avLst/>
                  <a:gdLst>
                    <a:gd name="T0" fmla="*/ 2 w 5"/>
                    <a:gd name="T1" fmla="*/ 0 h 11"/>
                    <a:gd name="T2" fmla="*/ 0 w 5"/>
                    <a:gd name="T3" fmla="*/ 0 h 11"/>
                    <a:gd name="T4" fmla="*/ 3 w 5"/>
                    <a:gd name="T5" fmla="*/ 11 h 11"/>
                    <a:gd name="T6" fmla="*/ 5 w 5"/>
                    <a:gd name="T7" fmla="*/ 11 h 11"/>
                    <a:gd name="T8" fmla="*/ 2 w 5"/>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86" name="Freeform 47"/>
                <p:cNvSpPr>
                  <a:spLocks/>
                </p:cNvSpPr>
                <p:nvPr/>
              </p:nvSpPr>
              <p:spPr bwMode="auto">
                <a:xfrm>
                  <a:off x="-2128" y="3355"/>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87" name="Freeform 48"/>
                <p:cNvSpPr>
                  <a:spLocks/>
                </p:cNvSpPr>
                <p:nvPr/>
              </p:nvSpPr>
              <p:spPr bwMode="auto">
                <a:xfrm>
                  <a:off x="-2220" y="2498"/>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88" name="Freeform 49"/>
                <p:cNvSpPr>
                  <a:spLocks/>
                </p:cNvSpPr>
                <p:nvPr/>
              </p:nvSpPr>
              <p:spPr bwMode="auto">
                <a:xfrm>
                  <a:off x="-2200" y="2256"/>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89" name="Freeform 50"/>
                <p:cNvSpPr>
                  <a:spLocks/>
                </p:cNvSpPr>
                <p:nvPr/>
              </p:nvSpPr>
              <p:spPr bwMode="auto">
                <a:xfrm>
                  <a:off x="-2020" y="1987"/>
                  <a:ext cx="26" cy="270"/>
                </a:xfrm>
                <a:custGeom>
                  <a:avLst/>
                  <a:gdLst>
                    <a:gd name="T0" fmla="*/ 11 w 11"/>
                    <a:gd name="T1" fmla="*/ 0 h 114"/>
                    <a:gd name="T2" fmla="*/ 9 w 11"/>
                    <a:gd name="T3" fmla="*/ 0 h 114"/>
                    <a:gd name="T4" fmla="*/ 8 w 11"/>
                    <a:gd name="T5" fmla="*/ 9 h 114"/>
                    <a:gd name="T6" fmla="*/ 8 w 11"/>
                    <a:gd name="T7" fmla="*/ 9 h 114"/>
                    <a:gd name="T8" fmla="*/ 1 w 11"/>
                    <a:gd name="T9" fmla="*/ 100 h 114"/>
                    <a:gd name="T10" fmla="*/ 3 w 11"/>
                    <a:gd name="T11" fmla="*/ 100 h 114"/>
                    <a:gd name="T12" fmla="*/ 3 w 11"/>
                    <a:gd name="T13" fmla="*/ 101 h 114"/>
                    <a:gd name="T14" fmla="*/ 1 w 11"/>
                    <a:gd name="T15" fmla="*/ 101 h 114"/>
                    <a:gd name="T16" fmla="*/ 0 w 11"/>
                    <a:gd name="T17" fmla="*/ 114 h 114"/>
                    <a:gd name="T18" fmla="*/ 2 w 11"/>
                    <a:gd name="T19" fmla="*/ 114 h 114"/>
                    <a:gd name="T20" fmla="*/ 10 w 11"/>
                    <a:gd name="T21" fmla="*/ 9 h 114"/>
                    <a:gd name="T22" fmla="*/ 11 w 11"/>
                    <a:gd name="T23" fmla="*/ 0 h 1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90" name="Freeform 51"/>
                <p:cNvSpPr>
                  <a:spLocks/>
                </p:cNvSpPr>
                <p:nvPr/>
              </p:nvSpPr>
              <p:spPr bwMode="auto">
                <a:xfrm>
                  <a:off x="-2016" y="2222"/>
                  <a:ext cx="3"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91" name="Freeform 52"/>
                <p:cNvSpPr>
                  <a:spLocks noEditPoints="1"/>
                </p:cNvSpPr>
                <p:nvPr/>
              </p:nvSpPr>
              <p:spPr bwMode="auto">
                <a:xfrm>
                  <a:off x="-2028" y="2260"/>
                  <a:ext cx="13" cy="1016"/>
                </a:xfrm>
                <a:custGeom>
                  <a:avLst/>
                  <a:gdLst>
                    <a:gd name="T0" fmla="*/ 5 w 6"/>
                    <a:gd name="T1" fmla="*/ 343 h 429"/>
                    <a:gd name="T2" fmla="*/ 3 w 6"/>
                    <a:gd name="T3" fmla="*/ 343 h 429"/>
                    <a:gd name="T4" fmla="*/ 2 w 6"/>
                    <a:gd name="T5" fmla="*/ 429 h 429"/>
                    <a:gd name="T6" fmla="*/ 4 w 6"/>
                    <a:gd name="T7" fmla="*/ 429 h 429"/>
                    <a:gd name="T8" fmla="*/ 5 w 6"/>
                    <a:gd name="T9" fmla="*/ 343 h 429"/>
                    <a:gd name="T10" fmla="*/ 4 w 6"/>
                    <a:gd name="T11" fmla="*/ 339 h 429"/>
                    <a:gd name="T12" fmla="*/ 4 w 6"/>
                    <a:gd name="T13" fmla="*/ 339 h 429"/>
                    <a:gd name="T14" fmla="*/ 3 w 6"/>
                    <a:gd name="T15" fmla="*/ 233 h 429"/>
                    <a:gd name="T16" fmla="*/ 1 w 6"/>
                    <a:gd name="T17" fmla="*/ 233 h 429"/>
                    <a:gd name="T18" fmla="*/ 1 w 6"/>
                    <a:gd name="T19" fmla="*/ 254 h 429"/>
                    <a:gd name="T20" fmla="*/ 2 w 6"/>
                    <a:gd name="T21" fmla="*/ 254 h 429"/>
                    <a:gd name="T22" fmla="*/ 2 w 6"/>
                    <a:gd name="T23" fmla="*/ 255 h 429"/>
                    <a:gd name="T24" fmla="*/ 1 w 6"/>
                    <a:gd name="T25" fmla="*/ 255 h 429"/>
                    <a:gd name="T26" fmla="*/ 3 w 6"/>
                    <a:gd name="T27" fmla="*/ 339 h 429"/>
                    <a:gd name="T28" fmla="*/ 3 w 6"/>
                    <a:gd name="T29" fmla="*/ 342 h 429"/>
                    <a:gd name="T30" fmla="*/ 5 w 6"/>
                    <a:gd name="T31" fmla="*/ 342 h 429"/>
                    <a:gd name="T32" fmla="*/ 5 w 6"/>
                    <a:gd name="T33" fmla="*/ 339 h 429"/>
                    <a:gd name="T34" fmla="*/ 5 w 6"/>
                    <a:gd name="T35" fmla="*/ 339 h 429"/>
                    <a:gd name="T36" fmla="*/ 4 w 6"/>
                    <a:gd name="T37" fmla="*/ 327 h 429"/>
                    <a:gd name="T38" fmla="*/ 3 w 6"/>
                    <a:gd name="T39" fmla="*/ 233 h 429"/>
                    <a:gd name="T40" fmla="*/ 3 w 6"/>
                    <a:gd name="T41" fmla="*/ 102 h 429"/>
                    <a:gd name="T42" fmla="*/ 1 w 6"/>
                    <a:gd name="T43" fmla="*/ 102 h 429"/>
                    <a:gd name="T44" fmla="*/ 0 w 6"/>
                    <a:gd name="T45" fmla="*/ 184 h 429"/>
                    <a:gd name="T46" fmla="*/ 1 w 6"/>
                    <a:gd name="T47" fmla="*/ 232 h 429"/>
                    <a:gd name="T48" fmla="*/ 3 w 6"/>
                    <a:gd name="T49" fmla="*/ 232 h 429"/>
                    <a:gd name="T50" fmla="*/ 2 w 6"/>
                    <a:gd name="T51" fmla="*/ 184 h 429"/>
                    <a:gd name="T52" fmla="*/ 3 w 6"/>
                    <a:gd name="T53" fmla="*/ 102 h 429"/>
                    <a:gd name="T54" fmla="*/ 6 w 6"/>
                    <a:gd name="T55" fmla="*/ 0 h 429"/>
                    <a:gd name="T56" fmla="*/ 4 w 6"/>
                    <a:gd name="T57" fmla="*/ 0 h 429"/>
                    <a:gd name="T58" fmla="*/ 1 w 6"/>
                    <a:gd name="T59" fmla="*/ 101 h 429"/>
                    <a:gd name="T60" fmla="*/ 3 w 6"/>
                    <a:gd name="T61" fmla="*/ 101 h 429"/>
                    <a:gd name="T62" fmla="*/ 6 w 6"/>
                    <a:gd name="T63" fmla="*/ 0 h 42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92" name="Freeform 53"/>
                <p:cNvSpPr>
                  <a:spLocks/>
                </p:cNvSpPr>
                <p:nvPr/>
              </p:nvSpPr>
              <p:spPr bwMode="auto">
                <a:xfrm>
                  <a:off x="-2021" y="3070"/>
                  <a:ext cx="5" cy="2"/>
                </a:xfrm>
                <a:custGeom>
                  <a:avLst/>
                  <a:gdLst>
                    <a:gd name="T0" fmla="*/ 5 w 5"/>
                    <a:gd name="T1" fmla="*/ 0 h 3"/>
                    <a:gd name="T2" fmla="*/ 0 w 5"/>
                    <a:gd name="T3" fmla="*/ 0 h 3"/>
                    <a:gd name="T4" fmla="*/ 0 w 5"/>
                    <a:gd name="T5" fmla="*/ 3 h 3"/>
                    <a:gd name="T6" fmla="*/ 5 w 5"/>
                    <a:gd name="T7" fmla="*/ 3 h 3"/>
                    <a:gd name="T8" fmla="*/ 5 w 5"/>
                    <a:gd name="T9" fmla="*/ 0 h 3"/>
                    <a:gd name="T10" fmla="*/ 5 w 5"/>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3">
                      <a:moveTo>
                        <a:pt x="5" y="0"/>
                      </a:moveTo>
                      <a:lnTo>
                        <a:pt x="0" y="0"/>
                      </a:lnTo>
                      <a:lnTo>
                        <a:pt x="0" y="3"/>
                      </a:lnTo>
                      <a:lnTo>
                        <a:pt x="5" y="3"/>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93" name="Freeform 54"/>
                <p:cNvSpPr>
                  <a:spLocks/>
                </p:cNvSpPr>
                <p:nvPr/>
              </p:nvSpPr>
              <p:spPr bwMode="auto">
                <a:xfrm>
                  <a:off x="-2026" y="2861"/>
                  <a:ext cx="2" cy="3"/>
                </a:xfrm>
                <a:custGeom>
                  <a:avLst/>
                  <a:gdLst>
                    <a:gd name="T0" fmla="*/ 1 w 1"/>
                    <a:gd name="T1" fmla="*/ 0 h 1"/>
                    <a:gd name="T2" fmla="*/ 0 w 1"/>
                    <a:gd name="T3" fmla="*/ 0 h 1"/>
                    <a:gd name="T4" fmla="*/ 0 w 1"/>
                    <a:gd name="T5" fmla="*/ 1 h 1"/>
                    <a:gd name="T6" fmla="*/ 1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94" name="Freeform 55"/>
                <p:cNvSpPr>
                  <a:spLocks noEditPoints="1"/>
                </p:cNvSpPr>
                <p:nvPr/>
              </p:nvSpPr>
              <p:spPr bwMode="auto">
                <a:xfrm>
                  <a:off x="-2025" y="1522"/>
                  <a:ext cx="92" cy="1833"/>
                </a:xfrm>
                <a:custGeom>
                  <a:avLst/>
                  <a:gdLst>
                    <a:gd name="T0" fmla="*/ 2 w 39"/>
                    <a:gd name="T1" fmla="*/ 741 h 773"/>
                    <a:gd name="T2" fmla="*/ 0 w 39"/>
                    <a:gd name="T3" fmla="*/ 741 h 773"/>
                    <a:gd name="T4" fmla="*/ 0 w 39"/>
                    <a:gd name="T5" fmla="*/ 773 h 773"/>
                    <a:gd name="T6" fmla="*/ 2 w 39"/>
                    <a:gd name="T7" fmla="*/ 773 h 773"/>
                    <a:gd name="T8" fmla="*/ 2 w 39"/>
                    <a:gd name="T9" fmla="*/ 741 h 773"/>
                    <a:gd name="T10" fmla="*/ 19 w 39"/>
                    <a:gd name="T11" fmla="*/ 99 h 773"/>
                    <a:gd name="T12" fmla="*/ 17 w 39"/>
                    <a:gd name="T13" fmla="*/ 99 h 773"/>
                    <a:gd name="T14" fmla="*/ 16 w 39"/>
                    <a:gd name="T15" fmla="*/ 123 h 773"/>
                    <a:gd name="T16" fmla="*/ 16 w 39"/>
                    <a:gd name="T17" fmla="*/ 123 h 773"/>
                    <a:gd name="T18" fmla="*/ 11 w 39"/>
                    <a:gd name="T19" fmla="*/ 195 h 773"/>
                    <a:gd name="T20" fmla="*/ 13 w 39"/>
                    <a:gd name="T21" fmla="*/ 195 h 773"/>
                    <a:gd name="T22" fmla="*/ 18 w 39"/>
                    <a:gd name="T23" fmla="*/ 123 h 773"/>
                    <a:gd name="T24" fmla="*/ 18 w 39"/>
                    <a:gd name="T25" fmla="*/ 123 h 773"/>
                    <a:gd name="T26" fmla="*/ 19 w 39"/>
                    <a:gd name="T27" fmla="*/ 99 h 773"/>
                    <a:gd name="T28" fmla="*/ 38 w 39"/>
                    <a:gd name="T29" fmla="*/ 0 h 773"/>
                    <a:gd name="T30" fmla="*/ 37 w 39"/>
                    <a:gd name="T31" fmla="*/ 0 h 773"/>
                    <a:gd name="T32" fmla="*/ 17 w 39"/>
                    <a:gd name="T33" fmla="*/ 98 h 773"/>
                    <a:gd name="T34" fmla="*/ 19 w 39"/>
                    <a:gd name="T35" fmla="*/ 98 h 773"/>
                    <a:gd name="T36" fmla="*/ 29 w 39"/>
                    <a:gd name="T37" fmla="*/ 32 h 773"/>
                    <a:gd name="T38" fmla="*/ 36 w 39"/>
                    <a:gd name="T39" fmla="*/ 9 h 773"/>
                    <a:gd name="T40" fmla="*/ 38 w 39"/>
                    <a:gd name="T41" fmla="*/ 3 h 773"/>
                    <a:gd name="T42" fmla="*/ 39 w 39"/>
                    <a:gd name="T43" fmla="*/ 1 h 773"/>
                    <a:gd name="T44" fmla="*/ 38 w 39"/>
                    <a:gd name="T45" fmla="*/ 0 h 77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95" name="Freeform 56"/>
                <p:cNvSpPr>
                  <a:spLocks/>
                </p:cNvSpPr>
                <p:nvPr/>
              </p:nvSpPr>
              <p:spPr bwMode="auto">
                <a:xfrm>
                  <a:off x="-1984" y="1754"/>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96" name="Freeform 57"/>
                <p:cNvSpPr>
                  <a:spLocks/>
                </p:cNvSpPr>
                <p:nvPr/>
              </p:nvSpPr>
              <p:spPr bwMode="auto">
                <a:xfrm>
                  <a:off x="-2026" y="2810"/>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97" name="Freeform 58"/>
                <p:cNvSpPr>
                  <a:spLocks/>
                </p:cNvSpPr>
                <p:nvPr/>
              </p:nvSpPr>
              <p:spPr bwMode="auto">
                <a:xfrm>
                  <a:off x="-2025" y="3276"/>
                  <a:ext cx="5" cy="2"/>
                </a:xfrm>
                <a:custGeom>
                  <a:avLst/>
                  <a:gdLst>
                    <a:gd name="T0" fmla="*/ 4 w 4"/>
                    <a:gd name="T1" fmla="*/ 0 h 2"/>
                    <a:gd name="T2" fmla="*/ 0 w 4"/>
                    <a:gd name="T3" fmla="*/ 0 h 2"/>
                    <a:gd name="T4" fmla="*/ 0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98" name="Freeform 59"/>
                <p:cNvSpPr>
                  <a:spLocks/>
                </p:cNvSpPr>
                <p:nvPr/>
              </p:nvSpPr>
              <p:spPr bwMode="auto">
                <a:xfrm>
                  <a:off x="-2026" y="3357"/>
                  <a:ext cx="7" cy="37"/>
                </a:xfrm>
                <a:custGeom>
                  <a:avLst/>
                  <a:gdLst>
                    <a:gd name="T0" fmla="*/ 7 w 7"/>
                    <a:gd name="T1" fmla="*/ 0 h 36"/>
                    <a:gd name="T2" fmla="*/ 3 w 7"/>
                    <a:gd name="T3" fmla="*/ 0 h 36"/>
                    <a:gd name="T4" fmla="*/ 0 w 7"/>
                    <a:gd name="T5" fmla="*/ 36 h 36"/>
                    <a:gd name="T6" fmla="*/ 5 w 7"/>
                    <a:gd name="T7" fmla="*/ 36 h 36"/>
                    <a:gd name="T8" fmla="*/ 7 w 7"/>
                    <a:gd name="T9" fmla="*/ 0 h 36"/>
                    <a:gd name="T10" fmla="*/ 7 w 7"/>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36">
                      <a:moveTo>
                        <a:pt x="7" y="0"/>
                      </a:moveTo>
                      <a:lnTo>
                        <a:pt x="3" y="0"/>
                      </a:lnTo>
                      <a:lnTo>
                        <a:pt x="0" y="36"/>
                      </a:lnTo>
                      <a:lnTo>
                        <a:pt x="5" y="36"/>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99" name="Freeform 60"/>
                <p:cNvSpPr>
                  <a:spLocks/>
                </p:cNvSpPr>
                <p:nvPr/>
              </p:nvSpPr>
              <p:spPr bwMode="auto">
                <a:xfrm>
                  <a:off x="-2025" y="3355"/>
                  <a:ext cx="5" cy="2"/>
                </a:xfrm>
                <a:custGeom>
                  <a:avLst/>
                  <a:gdLst>
                    <a:gd name="T0" fmla="*/ 4 w 4"/>
                    <a:gd name="T1" fmla="*/ 0 h 2"/>
                    <a:gd name="T2" fmla="*/ 0 w 4"/>
                    <a:gd name="T3" fmla="*/ 0 h 2"/>
                    <a:gd name="T4" fmla="*/ 0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00" name="Freeform 61"/>
                <p:cNvSpPr>
                  <a:spLocks/>
                </p:cNvSpPr>
                <p:nvPr/>
              </p:nvSpPr>
              <p:spPr bwMode="auto">
                <a:xfrm>
                  <a:off x="-2026" y="2498"/>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01" name="Freeform 62"/>
                <p:cNvSpPr>
                  <a:spLocks/>
                </p:cNvSpPr>
                <p:nvPr/>
              </p:nvSpPr>
              <p:spPr bwMode="auto">
                <a:xfrm>
                  <a:off x="-2020" y="2256"/>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02" name="Freeform 63"/>
                <p:cNvSpPr>
                  <a:spLocks/>
                </p:cNvSpPr>
                <p:nvPr/>
              </p:nvSpPr>
              <p:spPr bwMode="auto">
                <a:xfrm>
                  <a:off x="-1841" y="1987"/>
                  <a:ext cx="13" cy="270"/>
                </a:xfrm>
                <a:custGeom>
                  <a:avLst/>
                  <a:gdLst>
                    <a:gd name="T0" fmla="*/ 2 w 5"/>
                    <a:gd name="T1" fmla="*/ 0 h 114"/>
                    <a:gd name="T2" fmla="*/ 0 w 5"/>
                    <a:gd name="T3" fmla="*/ 0 h 114"/>
                    <a:gd name="T4" fmla="*/ 0 w 5"/>
                    <a:gd name="T5" fmla="*/ 4 h 114"/>
                    <a:gd name="T6" fmla="*/ 3 w 5"/>
                    <a:gd name="T7" fmla="*/ 114 h 114"/>
                    <a:gd name="T8" fmla="*/ 5 w 5"/>
                    <a:gd name="T9" fmla="*/ 114 h 114"/>
                    <a:gd name="T10" fmla="*/ 5 w 5"/>
                    <a:gd name="T11" fmla="*/ 101 h 114"/>
                    <a:gd name="T12" fmla="*/ 4 w 5"/>
                    <a:gd name="T13" fmla="*/ 101 h 114"/>
                    <a:gd name="T14" fmla="*/ 4 w 5"/>
                    <a:gd name="T15" fmla="*/ 100 h 114"/>
                    <a:gd name="T16" fmla="*/ 5 w 5"/>
                    <a:gd name="T17" fmla="*/ 100 h 114"/>
                    <a:gd name="T18" fmla="*/ 2 w 5"/>
                    <a:gd name="T19" fmla="*/ 4 h 114"/>
                    <a:gd name="T20" fmla="*/ 2 w 5"/>
                    <a:gd name="T21" fmla="*/ 0 h 1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03" name="Freeform 64"/>
                <p:cNvSpPr>
                  <a:spLocks/>
                </p:cNvSpPr>
                <p:nvPr/>
              </p:nvSpPr>
              <p:spPr bwMode="auto">
                <a:xfrm>
                  <a:off x="-1831" y="2222"/>
                  <a:ext cx="3" cy="3"/>
                </a:xfrm>
                <a:custGeom>
                  <a:avLst/>
                  <a:gdLst>
                    <a:gd name="T0" fmla="*/ 1 w 1"/>
                    <a:gd name="T1" fmla="*/ 0 h 1"/>
                    <a:gd name="T2" fmla="*/ 0 w 1"/>
                    <a:gd name="T3" fmla="*/ 0 h 1"/>
                    <a:gd name="T4" fmla="*/ 0 w 1"/>
                    <a:gd name="T5" fmla="*/ 1 h 1"/>
                    <a:gd name="T6" fmla="*/ 1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04" name="Freeform 65"/>
                <p:cNvSpPr>
                  <a:spLocks noEditPoints="1"/>
                </p:cNvSpPr>
                <p:nvPr/>
              </p:nvSpPr>
              <p:spPr bwMode="auto">
                <a:xfrm>
                  <a:off x="-1913" y="2260"/>
                  <a:ext cx="84" cy="1016"/>
                </a:xfrm>
                <a:custGeom>
                  <a:avLst/>
                  <a:gdLst>
                    <a:gd name="T0" fmla="*/ 15 w 35"/>
                    <a:gd name="T1" fmla="*/ 343 h 429"/>
                    <a:gd name="T2" fmla="*/ 13 w 35"/>
                    <a:gd name="T3" fmla="*/ 343 h 429"/>
                    <a:gd name="T4" fmla="*/ 0 w 35"/>
                    <a:gd name="T5" fmla="*/ 429 h 429"/>
                    <a:gd name="T6" fmla="*/ 2 w 35"/>
                    <a:gd name="T7" fmla="*/ 429 h 429"/>
                    <a:gd name="T8" fmla="*/ 15 w 35"/>
                    <a:gd name="T9" fmla="*/ 343 h 429"/>
                    <a:gd name="T10" fmla="*/ 31 w 35"/>
                    <a:gd name="T11" fmla="*/ 233 h 429"/>
                    <a:gd name="T12" fmla="*/ 29 w 35"/>
                    <a:gd name="T13" fmla="*/ 233 h 429"/>
                    <a:gd name="T14" fmla="*/ 22 w 35"/>
                    <a:gd name="T15" fmla="*/ 285 h 429"/>
                    <a:gd name="T16" fmla="*/ 16 w 35"/>
                    <a:gd name="T17" fmla="*/ 323 h 429"/>
                    <a:gd name="T18" fmla="*/ 13 w 35"/>
                    <a:gd name="T19" fmla="*/ 339 h 429"/>
                    <a:gd name="T20" fmla="*/ 13 w 35"/>
                    <a:gd name="T21" fmla="*/ 339 h 429"/>
                    <a:gd name="T22" fmla="*/ 13 w 35"/>
                    <a:gd name="T23" fmla="*/ 339 h 429"/>
                    <a:gd name="T24" fmla="*/ 13 w 35"/>
                    <a:gd name="T25" fmla="*/ 342 h 429"/>
                    <a:gd name="T26" fmla="*/ 15 w 35"/>
                    <a:gd name="T27" fmla="*/ 342 h 429"/>
                    <a:gd name="T28" fmla="*/ 15 w 35"/>
                    <a:gd name="T29" fmla="*/ 339 h 429"/>
                    <a:gd name="T30" fmla="*/ 15 w 35"/>
                    <a:gd name="T31" fmla="*/ 339 h 429"/>
                    <a:gd name="T32" fmla="*/ 31 w 35"/>
                    <a:gd name="T33" fmla="*/ 233 h 429"/>
                    <a:gd name="T34" fmla="*/ 35 w 35"/>
                    <a:gd name="T35" fmla="*/ 102 h 429"/>
                    <a:gd name="T36" fmla="*/ 33 w 35"/>
                    <a:gd name="T37" fmla="*/ 102 h 429"/>
                    <a:gd name="T38" fmla="*/ 33 w 35"/>
                    <a:gd name="T39" fmla="*/ 111 h 429"/>
                    <a:gd name="T40" fmla="*/ 33 w 35"/>
                    <a:gd name="T41" fmla="*/ 176 h 429"/>
                    <a:gd name="T42" fmla="*/ 33 w 35"/>
                    <a:gd name="T43" fmla="*/ 195 h 429"/>
                    <a:gd name="T44" fmla="*/ 33 w 35"/>
                    <a:gd name="T45" fmla="*/ 202 h 429"/>
                    <a:gd name="T46" fmla="*/ 29 w 35"/>
                    <a:gd name="T47" fmla="*/ 232 h 429"/>
                    <a:gd name="T48" fmla="*/ 31 w 35"/>
                    <a:gd name="T49" fmla="*/ 232 h 429"/>
                    <a:gd name="T50" fmla="*/ 35 w 35"/>
                    <a:gd name="T51" fmla="*/ 202 h 429"/>
                    <a:gd name="T52" fmla="*/ 35 w 35"/>
                    <a:gd name="T53" fmla="*/ 202 h 429"/>
                    <a:gd name="T54" fmla="*/ 35 w 35"/>
                    <a:gd name="T55" fmla="*/ 202 h 429"/>
                    <a:gd name="T56" fmla="*/ 35 w 35"/>
                    <a:gd name="T57" fmla="*/ 111 h 429"/>
                    <a:gd name="T58" fmla="*/ 35 w 35"/>
                    <a:gd name="T59" fmla="*/ 102 h 429"/>
                    <a:gd name="T60" fmla="*/ 35 w 35"/>
                    <a:gd name="T61" fmla="*/ 0 h 429"/>
                    <a:gd name="T62" fmla="*/ 33 w 35"/>
                    <a:gd name="T63" fmla="*/ 0 h 429"/>
                    <a:gd name="T64" fmla="*/ 33 w 35"/>
                    <a:gd name="T65" fmla="*/ 101 h 429"/>
                    <a:gd name="T66" fmla="*/ 35 w 35"/>
                    <a:gd name="T67" fmla="*/ 101 h 429"/>
                    <a:gd name="T68" fmla="*/ 35 w 35"/>
                    <a:gd name="T69" fmla="*/ 0 h 42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05" name="Freeform 66"/>
                <p:cNvSpPr>
                  <a:spLocks/>
                </p:cNvSpPr>
                <p:nvPr/>
              </p:nvSpPr>
              <p:spPr bwMode="auto">
                <a:xfrm>
                  <a:off x="-1880" y="3070"/>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06" name="Freeform 67"/>
                <p:cNvSpPr>
                  <a:spLocks noEditPoints="1"/>
                </p:cNvSpPr>
                <p:nvPr/>
              </p:nvSpPr>
              <p:spPr bwMode="auto">
                <a:xfrm>
                  <a:off x="-1934" y="1522"/>
                  <a:ext cx="100" cy="1833"/>
                </a:xfrm>
                <a:custGeom>
                  <a:avLst/>
                  <a:gdLst>
                    <a:gd name="T0" fmla="*/ 12 w 42"/>
                    <a:gd name="T1" fmla="*/ 741 h 773"/>
                    <a:gd name="T2" fmla="*/ 10 w 42"/>
                    <a:gd name="T3" fmla="*/ 741 h 773"/>
                    <a:gd name="T4" fmla="*/ 8 w 42"/>
                    <a:gd name="T5" fmla="*/ 750 h 773"/>
                    <a:gd name="T6" fmla="*/ 0 w 42"/>
                    <a:gd name="T7" fmla="*/ 773 h 773"/>
                    <a:gd name="T8" fmla="*/ 3 w 42"/>
                    <a:gd name="T9" fmla="*/ 773 h 773"/>
                    <a:gd name="T10" fmla="*/ 12 w 42"/>
                    <a:gd name="T11" fmla="*/ 741 h 773"/>
                    <a:gd name="T12" fmla="*/ 34 w 42"/>
                    <a:gd name="T13" fmla="*/ 99 h 773"/>
                    <a:gd name="T14" fmla="*/ 32 w 42"/>
                    <a:gd name="T15" fmla="*/ 99 h 773"/>
                    <a:gd name="T16" fmla="*/ 33 w 42"/>
                    <a:gd name="T17" fmla="*/ 106 h 773"/>
                    <a:gd name="T18" fmla="*/ 40 w 42"/>
                    <a:gd name="T19" fmla="*/ 195 h 773"/>
                    <a:gd name="T20" fmla="*/ 42 w 42"/>
                    <a:gd name="T21" fmla="*/ 195 h 773"/>
                    <a:gd name="T22" fmla="*/ 34 w 42"/>
                    <a:gd name="T23" fmla="*/ 99 h 773"/>
                    <a:gd name="T24" fmla="*/ 30 w 42"/>
                    <a:gd name="T25" fmla="*/ 68 h 773"/>
                    <a:gd name="T26" fmla="*/ 28 w 42"/>
                    <a:gd name="T27" fmla="*/ 68 h 773"/>
                    <a:gd name="T28" fmla="*/ 32 w 42"/>
                    <a:gd name="T29" fmla="*/ 98 h 773"/>
                    <a:gd name="T30" fmla="*/ 34 w 42"/>
                    <a:gd name="T31" fmla="*/ 98 h 773"/>
                    <a:gd name="T32" fmla="*/ 30 w 42"/>
                    <a:gd name="T33" fmla="*/ 68 h 773"/>
                    <a:gd name="T34" fmla="*/ 15 w 42"/>
                    <a:gd name="T35" fmla="*/ 0 h 773"/>
                    <a:gd name="T36" fmla="*/ 15 w 42"/>
                    <a:gd name="T37" fmla="*/ 0 h 773"/>
                    <a:gd name="T38" fmla="*/ 13 w 42"/>
                    <a:gd name="T39" fmla="*/ 1 h 773"/>
                    <a:gd name="T40" fmla="*/ 14 w 42"/>
                    <a:gd name="T41" fmla="*/ 2 h 773"/>
                    <a:gd name="T42" fmla="*/ 28 w 42"/>
                    <a:gd name="T43" fmla="*/ 67 h 773"/>
                    <a:gd name="T44" fmla="*/ 30 w 42"/>
                    <a:gd name="T45" fmla="*/ 67 h 773"/>
                    <a:gd name="T46" fmla="*/ 15 w 42"/>
                    <a:gd name="T47" fmla="*/ 0 h 77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07" name="Freeform 68"/>
                <p:cNvSpPr>
                  <a:spLocks/>
                </p:cNvSpPr>
                <p:nvPr/>
              </p:nvSpPr>
              <p:spPr bwMode="auto">
                <a:xfrm>
                  <a:off x="-1859" y="1754"/>
                  <a:ext cx="5" cy="2"/>
                </a:xfrm>
                <a:custGeom>
                  <a:avLst/>
                  <a:gdLst>
                    <a:gd name="T0" fmla="*/ 2 w 2"/>
                    <a:gd name="T1" fmla="*/ 0 h 1"/>
                    <a:gd name="T2" fmla="*/ 2 w 2"/>
                    <a:gd name="T3" fmla="*/ 0 h 1"/>
                    <a:gd name="T4" fmla="*/ 1 w 2"/>
                    <a:gd name="T5" fmla="*/ 0 h 1"/>
                    <a:gd name="T6" fmla="*/ 2 w 2"/>
                    <a:gd name="T7" fmla="*/ 0 h 1"/>
                    <a:gd name="T8" fmla="*/ 0 w 2"/>
                    <a:gd name="T9" fmla="*/ 0 h 1"/>
                    <a:gd name="T10" fmla="*/ 0 w 2"/>
                    <a:gd name="T11" fmla="*/ 0 h 1"/>
                    <a:gd name="T12" fmla="*/ 0 w 2"/>
                    <a:gd name="T13" fmla="*/ 1 h 1"/>
                    <a:gd name="T14" fmla="*/ 2 w 2"/>
                    <a:gd name="T15" fmla="*/ 1 h 1"/>
                    <a:gd name="T16" fmla="*/ 2 w 2"/>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08" name="Freeform 69"/>
                <p:cNvSpPr>
                  <a:spLocks/>
                </p:cNvSpPr>
                <p:nvPr/>
              </p:nvSpPr>
              <p:spPr bwMode="auto">
                <a:xfrm>
                  <a:off x="-1869" y="1682"/>
                  <a:ext cx="2"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09" name="Freeform 70"/>
                <p:cNvSpPr>
                  <a:spLocks/>
                </p:cNvSpPr>
                <p:nvPr/>
              </p:nvSpPr>
              <p:spPr bwMode="auto">
                <a:xfrm>
                  <a:off x="-1842" y="2810"/>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10" name="Freeform 71"/>
                <p:cNvSpPr>
                  <a:spLocks/>
                </p:cNvSpPr>
                <p:nvPr/>
              </p:nvSpPr>
              <p:spPr bwMode="auto">
                <a:xfrm>
                  <a:off x="-1913" y="3276"/>
                  <a:ext cx="7"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11" name="Freeform 72"/>
                <p:cNvSpPr>
                  <a:spLocks/>
                </p:cNvSpPr>
                <p:nvPr/>
              </p:nvSpPr>
              <p:spPr bwMode="auto">
                <a:xfrm>
                  <a:off x="-1946" y="3355"/>
                  <a:ext cx="16" cy="37"/>
                </a:xfrm>
                <a:custGeom>
                  <a:avLst/>
                  <a:gdLst>
                    <a:gd name="T0" fmla="*/ 5 w 7"/>
                    <a:gd name="T1" fmla="*/ 0 h 16"/>
                    <a:gd name="T2" fmla="*/ 4 w 7"/>
                    <a:gd name="T3" fmla="*/ 5 h 16"/>
                    <a:gd name="T4" fmla="*/ 1 w 7"/>
                    <a:gd name="T5" fmla="*/ 12 h 16"/>
                    <a:gd name="T6" fmla="*/ 0 w 7"/>
                    <a:gd name="T7" fmla="*/ 15 h 16"/>
                    <a:gd name="T8" fmla="*/ 2 w 7"/>
                    <a:gd name="T9" fmla="*/ 16 h 16"/>
                    <a:gd name="T10" fmla="*/ 7 w 7"/>
                    <a:gd name="T11" fmla="*/ 1 h 16"/>
                    <a:gd name="T12" fmla="*/ 5 w 7"/>
                    <a:gd name="T13" fmla="*/ 1 h 16"/>
                    <a:gd name="T14" fmla="*/ 5 w 7"/>
                    <a:gd name="T15" fmla="*/ 0 h 1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12" name="Freeform 73"/>
                <p:cNvSpPr>
                  <a:spLocks/>
                </p:cNvSpPr>
                <p:nvPr/>
              </p:nvSpPr>
              <p:spPr bwMode="auto">
                <a:xfrm>
                  <a:off x="-1934" y="3355"/>
                  <a:ext cx="8" cy="2"/>
                </a:xfrm>
                <a:custGeom>
                  <a:avLst/>
                  <a:gdLst>
                    <a:gd name="T0" fmla="*/ 3 w 3"/>
                    <a:gd name="T1" fmla="*/ 0 h 1"/>
                    <a:gd name="T2" fmla="*/ 0 w 3"/>
                    <a:gd name="T3" fmla="*/ 0 h 1"/>
                    <a:gd name="T4" fmla="*/ 0 w 3"/>
                    <a:gd name="T5" fmla="*/ 0 h 1"/>
                    <a:gd name="T6" fmla="*/ 0 w 3"/>
                    <a:gd name="T7" fmla="*/ 1 h 1"/>
                    <a:gd name="T8" fmla="*/ 2 w 3"/>
                    <a:gd name="T9" fmla="*/ 1 h 1"/>
                    <a:gd name="T10" fmla="*/ 3 w 3"/>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13" name="Freeform 74"/>
                <p:cNvSpPr>
                  <a:spLocks/>
                </p:cNvSpPr>
                <p:nvPr/>
              </p:nvSpPr>
              <p:spPr bwMode="auto">
                <a:xfrm>
                  <a:off x="-1832" y="2498"/>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14" name="Freeform 75"/>
                <p:cNvSpPr>
                  <a:spLocks/>
                </p:cNvSpPr>
                <p:nvPr/>
              </p:nvSpPr>
              <p:spPr bwMode="auto">
                <a:xfrm>
                  <a:off x="-1832" y="2256"/>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15" name="Freeform 76"/>
                <p:cNvSpPr>
                  <a:spLocks noEditPoints="1"/>
                </p:cNvSpPr>
                <p:nvPr/>
              </p:nvSpPr>
              <p:spPr bwMode="auto">
                <a:xfrm>
                  <a:off x="-1665" y="1683"/>
                  <a:ext cx="238" cy="865"/>
                </a:xfrm>
                <a:custGeom>
                  <a:avLst/>
                  <a:gdLst>
                    <a:gd name="T0" fmla="*/ 100 w 100"/>
                    <a:gd name="T1" fmla="*/ 345 h 365"/>
                    <a:gd name="T2" fmla="*/ 99 w 100"/>
                    <a:gd name="T3" fmla="*/ 345 h 365"/>
                    <a:gd name="T4" fmla="*/ 99 w 100"/>
                    <a:gd name="T5" fmla="*/ 365 h 365"/>
                    <a:gd name="T6" fmla="*/ 99 w 100"/>
                    <a:gd name="T7" fmla="*/ 365 h 365"/>
                    <a:gd name="T8" fmla="*/ 100 w 100"/>
                    <a:gd name="T9" fmla="*/ 365 h 365"/>
                    <a:gd name="T10" fmla="*/ 100 w 100"/>
                    <a:gd name="T11" fmla="*/ 365 h 365"/>
                    <a:gd name="T12" fmla="*/ 100 w 100"/>
                    <a:gd name="T13" fmla="*/ 345 h 365"/>
                    <a:gd name="T14" fmla="*/ 88 w 100"/>
                    <a:gd name="T15" fmla="*/ 243 h 365"/>
                    <a:gd name="T16" fmla="*/ 87 w 100"/>
                    <a:gd name="T17" fmla="*/ 243 h 365"/>
                    <a:gd name="T18" fmla="*/ 99 w 100"/>
                    <a:gd name="T19" fmla="*/ 344 h 365"/>
                    <a:gd name="T20" fmla="*/ 100 w 100"/>
                    <a:gd name="T21" fmla="*/ 344 h 365"/>
                    <a:gd name="T22" fmla="*/ 88 w 100"/>
                    <a:gd name="T23" fmla="*/ 243 h 365"/>
                    <a:gd name="T24" fmla="*/ 66 w 100"/>
                    <a:gd name="T25" fmla="*/ 128 h 365"/>
                    <a:gd name="T26" fmla="*/ 65 w 100"/>
                    <a:gd name="T27" fmla="*/ 128 h 365"/>
                    <a:gd name="T28" fmla="*/ 66 w 100"/>
                    <a:gd name="T29" fmla="*/ 131 h 365"/>
                    <a:gd name="T30" fmla="*/ 66 w 100"/>
                    <a:gd name="T31" fmla="*/ 131 h 365"/>
                    <a:gd name="T32" fmla="*/ 68 w 100"/>
                    <a:gd name="T33" fmla="*/ 138 h 365"/>
                    <a:gd name="T34" fmla="*/ 87 w 100"/>
                    <a:gd name="T35" fmla="*/ 242 h 365"/>
                    <a:gd name="T36" fmla="*/ 88 w 100"/>
                    <a:gd name="T37" fmla="*/ 242 h 365"/>
                    <a:gd name="T38" fmla="*/ 67 w 100"/>
                    <a:gd name="T39" fmla="*/ 131 h 365"/>
                    <a:gd name="T40" fmla="*/ 67 w 100"/>
                    <a:gd name="T41" fmla="*/ 131 h 365"/>
                    <a:gd name="T42" fmla="*/ 67 w 100"/>
                    <a:gd name="T43" fmla="*/ 131 h 365"/>
                    <a:gd name="T44" fmla="*/ 66 w 100"/>
                    <a:gd name="T45" fmla="*/ 128 h 365"/>
                    <a:gd name="T46" fmla="*/ 1 w 100"/>
                    <a:gd name="T47" fmla="*/ 0 h 365"/>
                    <a:gd name="T48" fmla="*/ 0 w 100"/>
                    <a:gd name="T49" fmla="*/ 0 h 365"/>
                    <a:gd name="T50" fmla="*/ 21 w 100"/>
                    <a:gd name="T51" fmla="*/ 30 h 365"/>
                    <a:gd name="T52" fmla="*/ 22 w 100"/>
                    <a:gd name="T53" fmla="*/ 30 h 365"/>
                    <a:gd name="T54" fmla="*/ 1 w 100"/>
                    <a:gd name="T55" fmla="*/ 0 h 36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16" name="Freeform 77"/>
                <p:cNvSpPr>
                  <a:spLocks/>
                </p:cNvSpPr>
                <p:nvPr/>
              </p:nvSpPr>
              <p:spPr bwMode="auto">
                <a:xfrm>
                  <a:off x="-1614" y="1754"/>
                  <a:ext cx="5" cy="2"/>
                </a:xfrm>
                <a:custGeom>
                  <a:avLst/>
                  <a:gdLst>
                    <a:gd name="T0" fmla="*/ 1 w 2"/>
                    <a:gd name="T1" fmla="*/ 0 h 1"/>
                    <a:gd name="T2" fmla="*/ 0 w 2"/>
                    <a:gd name="T3" fmla="*/ 0 h 1"/>
                    <a:gd name="T4" fmla="*/ 1 w 2"/>
                    <a:gd name="T5" fmla="*/ 1 h 1"/>
                    <a:gd name="T6" fmla="*/ 2 w 2"/>
                    <a:gd name="T7" fmla="*/ 1 h 1"/>
                    <a:gd name="T8" fmla="*/ 1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17" name="Freeform 78"/>
                <p:cNvSpPr>
                  <a:spLocks/>
                </p:cNvSpPr>
                <p:nvPr/>
              </p:nvSpPr>
              <p:spPr bwMode="auto">
                <a:xfrm>
                  <a:off x="-1666" y="1682"/>
                  <a:ext cx="5" cy="3"/>
                </a:xfrm>
                <a:custGeom>
                  <a:avLst/>
                  <a:gdLst>
                    <a:gd name="T0" fmla="*/ 2 w 2"/>
                    <a:gd name="T1" fmla="*/ 0 h 1"/>
                    <a:gd name="T2" fmla="*/ 0 w 2"/>
                    <a:gd name="T3" fmla="*/ 0 h 1"/>
                    <a:gd name="T4" fmla="*/ 1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18" name="Freeform 79"/>
                <p:cNvSpPr>
                  <a:spLocks/>
                </p:cNvSpPr>
                <p:nvPr/>
              </p:nvSpPr>
              <p:spPr bwMode="auto">
                <a:xfrm>
                  <a:off x="-1430" y="2498"/>
                  <a:ext cx="3" cy="3"/>
                </a:xfrm>
                <a:custGeom>
                  <a:avLst/>
                  <a:gdLst>
                    <a:gd name="T0" fmla="*/ 1 w 1"/>
                    <a:gd name="T1" fmla="*/ 0 h 1"/>
                    <a:gd name="T2" fmla="*/ 0 w 1"/>
                    <a:gd name="T3" fmla="*/ 0 h 1"/>
                    <a:gd name="T4" fmla="*/ 0 w 1"/>
                    <a:gd name="T5" fmla="*/ 1 h 1"/>
                    <a:gd name="T6" fmla="*/ 1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19" name="Freeform 80"/>
                <p:cNvSpPr>
                  <a:spLocks/>
                </p:cNvSpPr>
                <p:nvPr/>
              </p:nvSpPr>
              <p:spPr bwMode="auto">
                <a:xfrm>
                  <a:off x="-1458" y="2256"/>
                  <a:ext cx="2" cy="3"/>
                </a:xfrm>
                <a:custGeom>
                  <a:avLst/>
                  <a:gdLst>
                    <a:gd name="T0" fmla="*/ 1 w 1"/>
                    <a:gd name="T1" fmla="*/ 0 h 1"/>
                    <a:gd name="T2" fmla="*/ 0 w 1"/>
                    <a:gd name="T3" fmla="*/ 0 h 1"/>
                    <a:gd name="T4" fmla="*/ 0 w 1"/>
                    <a:gd name="T5" fmla="*/ 1 h 1"/>
                    <a:gd name="T6" fmla="*/ 1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20" name="Freeform 81"/>
                <p:cNvSpPr>
                  <a:spLocks/>
                </p:cNvSpPr>
                <p:nvPr/>
              </p:nvSpPr>
              <p:spPr bwMode="auto">
                <a:xfrm>
                  <a:off x="-1376" y="1987"/>
                  <a:ext cx="99" cy="270"/>
                </a:xfrm>
                <a:custGeom>
                  <a:avLst/>
                  <a:gdLst>
                    <a:gd name="T0" fmla="*/ 2 w 42"/>
                    <a:gd name="T1" fmla="*/ 0 h 114"/>
                    <a:gd name="T2" fmla="*/ 0 w 42"/>
                    <a:gd name="T3" fmla="*/ 0 h 114"/>
                    <a:gd name="T4" fmla="*/ 1 w 42"/>
                    <a:gd name="T5" fmla="*/ 1 h 114"/>
                    <a:gd name="T6" fmla="*/ 32 w 42"/>
                    <a:gd name="T7" fmla="*/ 84 h 114"/>
                    <a:gd name="T8" fmla="*/ 39 w 42"/>
                    <a:gd name="T9" fmla="*/ 109 h 114"/>
                    <a:gd name="T10" fmla="*/ 40 w 42"/>
                    <a:gd name="T11" fmla="*/ 114 h 114"/>
                    <a:gd name="T12" fmla="*/ 42 w 42"/>
                    <a:gd name="T13" fmla="*/ 114 h 114"/>
                    <a:gd name="T14" fmla="*/ 39 w 42"/>
                    <a:gd name="T15" fmla="*/ 101 h 114"/>
                    <a:gd name="T16" fmla="*/ 37 w 42"/>
                    <a:gd name="T17" fmla="*/ 101 h 114"/>
                    <a:gd name="T18" fmla="*/ 37 w 42"/>
                    <a:gd name="T19" fmla="*/ 100 h 114"/>
                    <a:gd name="T20" fmla="*/ 39 w 42"/>
                    <a:gd name="T21" fmla="*/ 100 h 114"/>
                    <a:gd name="T22" fmla="*/ 2 w 42"/>
                    <a:gd name="T23" fmla="*/ 0 h 1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21" name="Freeform 82"/>
                <p:cNvSpPr>
                  <a:spLocks/>
                </p:cNvSpPr>
                <p:nvPr/>
              </p:nvSpPr>
              <p:spPr bwMode="auto">
                <a:xfrm>
                  <a:off x="-1288" y="2222"/>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22" name="Freeform 83"/>
                <p:cNvSpPr>
                  <a:spLocks noEditPoints="1"/>
                </p:cNvSpPr>
                <p:nvPr/>
              </p:nvSpPr>
              <p:spPr bwMode="auto">
                <a:xfrm>
                  <a:off x="-1282" y="2260"/>
                  <a:ext cx="232" cy="1016"/>
                </a:xfrm>
                <a:custGeom>
                  <a:avLst/>
                  <a:gdLst>
                    <a:gd name="T0" fmla="*/ 70 w 98"/>
                    <a:gd name="T1" fmla="*/ 343 h 429"/>
                    <a:gd name="T2" fmla="*/ 68 w 98"/>
                    <a:gd name="T3" fmla="*/ 343 h 429"/>
                    <a:gd name="T4" fmla="*/ 95 w 98"/>
                    <a:gd name="T5" fmla="*/ 429 h 429"/>
                    <a:gd name="T6" fmla="*/ 98 w 98"/>
                    <a:gd name="T7" fmla="*/ 429 h 429"/>
                    <a:gd name="T8" fmla="*/ 70 w 98"/>
                    <a:gd name="T9" fmla="*/ 343 h 429"/>
                    <a:gd name="T10" fmla="*/ 39 w 98"/>
                    <a:gd name="T11" fmla="*/ 255 h 429"/>
                    <a:gd name="T12" fmla="*/ 36 w 98"/>
                    <a:gd name="T13" fmla="*/ 255 h 429"/>
                    <a:gd name="T14" fmla="*/ 68 w 98"/>
                    <a:gd name="T15" fmla="*/ 342 h 429"/>
                    <a:gd name="T16" fmla="*/ 70 w 98"/>
                    <a:gd name="T17" fmla="*/ 342 h 429"/>
                    <a:gd name="T18" fmla="*/ 70 w 98"/>
                    <a:gd name="T19" fmla="*/ 342 h 429"/>
                    <a:gd name="T20" fmla="*/ 70 w 98"/>
                    <a:gd name="T21" fmla="*/ 342 h 429"/>
                    <a:gd name="T22" fmla="*/ 70 w 98"/>
                    <a:gd name="T23" fmla="*/ 342 h 429"/>
                    <a:gd name="T24" fmla="*/ 68 w 98"/>
                    <a:gd name="T25" fmla="*/ 337 h 429"/>
                    <a:gd name="T26" fmla="*/ 39 w 98"/>
                    <a:gd name="T27" fmla="*/ 255 h 429"/>
                    <a:gd name="T28" fmla="*/ 32 w 98"/>
                    <a:gd name="T29" fmla="*/ 233 h 429"/>
                    <a:gd name="T30" fmla="*/ 30 w 98"/>
                    <a:gd name="T31" fmla="*/ 233 h 429"/>
                    <a:gd name="T32" fmla="*/ 36 w 98"/>
                    <a:gd name="T33" fmla="*/ 254 h 429"/>
                    <a:gd name="T34" fmla="*/ 38 w 98"/>
                    <a:gd name="T35" fmla="*/ 254 h 429"/>
                    <a:gd name="T36" fmla="*/ 32 w 98"/>
                    <a:gd name="T37" fmla="*/ 233 h 429"/>
                    <a:gd name="T38" fmla="*/ 17 w 98"/>
                    <a:gd name="T39" fmla="*/ 102 h 429"/>
                    <a:gd name="T40" fmla="*/ 15 w 98"/>
                    <a:gd name="T41" fmla="*/ 102 h 429"/>
                    <a:gd name="T42" fmla="*/ 17 w 98"/>
                    <a:gd name="T43" fmla="*/ 117 h 429"/>
                    <a:gd name="T44" fmla="*/ 16 w 98"/>
                    <a:gd name="T45" fmla="*/ 137 h 429"/>
                    <a:gd name="T46" fmla="*/ 30 w 98"/>
                    <a:gd name="T47" fmla="*/ 232 h 429"/>
                    <a:gd name="T48" fmla="*/ 32 w 98"/>
                    <a:gd name="T49" fmla="*/ 232 h 429"/>
                    <a:gd name="T50" fmla="*/ 18 w 98"/>
                    <a:gd name="T51" fmla="*/ 137 h 429"/>
                    <a:gd name="T52" fmla="*/ 19 w 98"/>
                    <a:gd name="T53" fmla="*/ 117 h 429"/>
                    <a:gd name="T54" fmla="*/ 19 w 98"/>
                    <a:gd name="T55" fmla="*/ 117 h 429"/>
                    <a:gd name="T56" fmla="*/ 17 w 98"/>
                    <a:gd name="T57" fmla="*/ 102 h 429"/>
                    <a:gd name="T58" fmla="*/ 2 w 98"/>
                    <a:gd name="T59" fmla="*/ 0 h 429"/>
                    <a:gd name="T60" fmla="*/ 0 w 98"/>
                    <a:gd name="T61" fmla="*/ 0 h 429"/>
                    <a:gd name="T62" fmla="*/ 1 w 98"/>
                    <a:gd name="T63" fmla="*/ 1 h 429"/>
                    <a:gd name="T64" fmla="*/ 1 w 98"/>
                    <a:gd name="T65" fmla="*/ 3 h 429"/>
                    <a:gd name="T66" fmla="*/ 1 w 98"/>
                    <a:gd name="T67" fmla="*/ 3 h 429"/>
                    <a:gd name="T68" fmla="*/ 15 w 98"/>
                    <a:gd name="T69" fmla="*/ 101 h 429"/>
                    <a:gd name="T70" fmla="*/ 17 w 98"/>
                    <a:gd name="T71" fmla="*/ 101 h 429"/>
                    <a:gd name="T72" fmla="*/ 3 w 98"/>
                    <a:gd name="T73" fmla="*/ 3 h 429"/>
                    <a:gd name="T74" fmla="*/ 2 w 98"/>
                    <a:gd name="T75" fmla="*/ 0 h 42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23" name="Freeform 84"/>
                <p:cNvSpPr>
                  <a:spLocks/>
                </p:cNvSpPr>
                <p:nvPr/>
              </p:nvSpPr>
              <p:spPr bwMode="auto">
                <a:xfrm>
                  <a:off x="-1121" y="3070"/>
                  <a:ext cx="5" cy="2"/>
                </a:xfrm>
                <a:custGeom>
                  <a:avLst/>
                  <a:gdLst>
                    <a:gd name="T0" fmla="*/ 2 w 2"/>
                    <a:gd name="T1" fmla="*/ 0 h 1"/>
                    <a:gd name="T2" fmla="*/ 0 w 2"/>
                    <a:gd name="T3" fmla="*/ 0 h 1"/>
                    <a:gd name="T4" fmla="*/ 0 w 2"/>
                    <a:gd name="T5" fmla="*/ 0 h 1"/>
                    <a:gd name="T6" fmla="*/ 0 w 2"/>
                    <a:gd name="T7" fmla="*/ 1 h 1"/>
                    <a:gd name="T8" fmla="*/ 2 w 2"/>
                    <a:gd name="T9" fmla="*/ 1 h 1"/>
                    <a:gd name="T10" fmla="*/ 2 w 2"/>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24" name="Freeform 85"/>
                <p:cNvSpPr>
                  <a:spLocks/>
                </p:cNvSpPr>
                <p:nvPr/>
              </p:nvSpPr>
              <p:spPr bwMode="auto">
                <a:xfrm>
                  <a:off x="-1196" y="2861"/>
                  <a:ext cx="8" cy="3"/>
                </a:xfrm>
                <a:custGeom>
                  <a:avLst/>
                  <a:gdLst>
                    <a:gd name="T0" fmla="*/ 2 w 3"/>
                    <a:gd name="T1" fmla="*/ 0 h 1"/>
                    <a:gd name="T2" fmla="*/ 0 w 3"/>
                    <a:gd name="T3" fmla="*/ 0 h 1"/>
                    <a:gd name="T4" fmla="*/ 0 w 3"/>
                    <a:gd name="T5" fmla="*/ 1 h 1"/>
                    <a:gd name="T6" fmla="*/ 3 w 3"/>
                    <a:gd name="T7" fmla="*/ 1 h 1"/>
                    <a:gd name="T8" fmla="*/ 2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25" name="Freeform 86"/>
                <p:cNvSpPr>
                  <a:spLocks noEditPoints="1"/>
                </p:cNvSpPr>
                <p:nvPr/>
              </p:nvSpPr>
              <p:spPr bwMode="auto">
                <a:xfrm>
                  <a:off x="-1775" y="1524"/>
                  <a:ext cx="766" cy="1831"/>
                </a:xfrm>
                <a:custGeom>
                  <a:avLst/>
                  <a:gdLst>
                    <a:gd name="T0" fmla="*/ 306 w 323"/>
                    <a:gd name="T1" fmla="*/ 740 h 772"/>
                    <a:gd name="T2" fmla="*/ 304 w 323"/>
                    <a:gd name="T3" fmla="*/ 740 h 772"/>
                    <a:gd name="T4" fmla="*/ 321 w 323"/>
                    <a:gd name="T5" fmla="*/ 772 h 772"/>
                    <a:gd name="T6" fmla="*/ 323 w 323"/>
                    <a:gd name="T7" fmla="*/ 772 h 772"/>
                    <a:gd name="T8" fmla="*/ 306 w 323"/>
                    <a:gd name="T9" fmla="*/ 740 h 772"/>
                    <a:gd name="T10" fmla="*/ 111 w 323"/>
                    <a:gd name="T11" fmla="*/ 98 h 772"/>
                    <a:gd name="T12" fmla="*/ 108 w 323"/>
                    <a:gd name="T13" fmla="*/ 98 h 772"/>
                    <a:gd name="T14" fmla="*/ 167 w 323"/>
                    <a:gd name="T15" fmla="*/ 194 h 772"/>
                    <a:gd name="T16" fmla="*/ 170 w 323"/>
                    <a:gd name="T17" fmla="*/ 194 h 772"/>
                    <a:gd name="T18" fmla="*/ 111 w 323"/>
                    <a:gd name="T19" fmla="*/ 98 h 772"/>
                    <a:gd name="T20" fmla="*/ 1 w 323"/>
                    <a:gd name="T21" fmla="*/ 0 h 772"/>
                    <a:gd name="T22" fmla="*/ 0 w 323"/>
                    <a:gd name="T23" fmla="*/ 1 h 772"/>
                    <a:gd name="T24" fmla="*/ 107 w 323"/>
                    <a:gd name="T25" fmla="*/ 97 h 772"/>
                    <a:gd name="T26" fmla="*/ 110 w 323"/>
                    <a:gd name="T27" fmla="*/ 97 h 772"/>
                    <a:gd name="T28" fmla="*/ 84 w 323"/>
                    <a:gd name="T29" fmla="*/ 67 h 772"/>
                    <a:gd name="T30" fmla="*/ 84 w 323"/>
                    <a:gd name="T31" fmla="*/ 67 h 772"/>
                    <a:gd name="T32" fmla="*/ 84 w 323"/>
                    <a:gd name="T33" fmla="*/ 67 h 772"/>
                    <a:gd name="T34" fmla="*/ 1 w 323"/>
                    <a:gd name="T35" fmla="*/ 0 h 77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26" name="Freeform 87"/>
                <p:cNvSpPr>
                  <a:spLocks/>
                </p:cNvSpPr>
                <p:nvPr/>
              </p:nvSpPr>
              <p:spPr bwMode="auto">
                <a:xfrm>
                  <a:off x="-1520" y="1754"/>
                  <a:ext cx="8" cy="2"/>
                </a:xfrm>
                <a:custGeom>
                  <a:avLst/>
                  <a:gdLst>
                    <a:gd name="T0" fmla="*/ 3 w 4"/>
                    <a:gd name="T1" fmla="*/ 0 h 1"/>
                    <a:gd name="T2" fmla="*/ 0 w 4"/>
                    <a:gd name="T3" fmla="*/ 0 h 1"/>
                    <a:gd name="T4" fmla="*/ 1 w 4"/>
                    <a:gd name="T5" fmla="*/ 1 h 1"/>
                    <a:gd name="T6" fmla="*/ 4 w 4"/>
                    <a:gd name="T7" fmla="*/ 1 h 1"/>
                    <a:gd name="T8" fmla="*/ 3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27" name="Rectangle 88"/>
                <p:cNvSpPr>
                  <a:spLocks noChangeArrowheads="1"/>
                </p:cNvSpPr>
                <p:nvPr/>
              </p:nvSpPr>
              <p:spPr bwMode="auto">
                <a:xfrm>
                  <a:off x="-1576" y="1683"/>
                  <a:ext cx="3" cy="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263">
                    <a:defRPr>
                      <a:solidFill>
                        <a:schemeClr val="tx1"/>
                      </a:solidFill>
                      <a:latin typeface="Arial" panose="020B0604020202020204" pitchFamily="34" charset="0"/>
                    </a:defRPr>
                  </a:lvl1pPr>
                  <a:lvl2pPr marL="742950" indent="-285750" defTabSz="957263">
                    <a:defRPr>
                      <a:solidFill>
                        <a:schemeClr val="tx1"/>
                      </a:solidFill>
                      <a:latin typeface="Arial" panose="020B0604020202020204" pitchFamily="34" charset="0"/>
                    </a:defRPr>
                  </a:lvl2pPr>
                  <a:lvl3pPr marL="1143000" indent="-228600" defTabSz="957263">
                    <a:defRPr>
                      <a:solidFill>
                        <a:schemeClr val="tx1"/>
                      </a:solidFill>
                      <a:latin typeface="Arial" panose="020B0604020202020204" pitchFamily="34" charset="0"/>
                    </a:defRPr>
                  </a:lvl3pPr>
                  <a:lvl4pPr marL="1600200" indent="-228600" defTabSz="957263">
                    <a:defRPr>
                      <a:solidFill>
                        <a:schemeClr val="tx1"/>
                      </a:solidFill>
                      <a:latin typeface="Arial" panose="020B0604020202020204" pitchFamily="34" charset="0"/>
                    </a:defRPr>
                  </a:lvl4pPr>
                  <a:lvl5pPr marL="2057400" indent="-228600" defTabSz="957263">
                    <a:defRPr>
                      <a:solidFill>
                        <a:schemeClr val="tx1"/>
                      </a:solidFill>
                      <a:latin typeface="Arial" panose="020B0604020202020204" pitchFamily="34" charset="0"/>
                    </a:defRPr>
                  </a:lvl5pPr>
                  <a:lvl6pPr marL="2514600" indent="-228600" defTabSz="957263" eaLnBrk="0" fontAlgn="base" hangingPunct="0">
                    <a:spcBef>
                      <a:spcPct val="0"/>
                    </a:spcBef>
                    <a:spcAft>
                      <a:spcPct val="0"/>
                    </a:spcAft>
                    <a:defRPr>
                      <a:solidFill>
                        <a:schemeClr val="tx1"/>
                      </a:solidFill>
                      <a:latin typeface="Arial" panose="020B0604020202020204" pitchFamily="34" charset="0"/>
                    </a:defRPr>
                  </a:lvl6pPr>
                  <a:lvl7pPr marL="2971800" indent="-228600" defTabSz="957263" eaLnBrk="0" fontAlgn="base" hangingPunct="0">
                    <a:spcBef>
                      <a:spcPct val="0"/>
                    </a:spcBef>
                    <a:spcAft>
                      <a:spcPct val="0"/>
                    </a:spcAft>
                    <a:defRPr>
                      <a:solidFill>
                        <a:schemeClr val="tx1"/>
                      </a:solidFill>
                      <a:latin typeface="Arial" panose="020B0604020202020204" pitchFamily="34" charset="0"/>
                    </a:defRPr>
                  </a:lvl7pPr>
                  <a:lvl8pPr marL="3429000" indent="-228600" defTabSz="957263" eaLnBrk="0" fontAlgn="base" hangingPunct="0">
                    <a:spcBef>
                      <a:spcPct val="0"/>
                    </a:spcBef>
                    <a:spcAft>
                      <a:spcPct val="0"/>
                    </a:spcAft>
                    <a:defRPr>
                      <a:solidFill>
                        <a:schemeClr val="tx1"/>
                      </a:solidFill>
                      <a:latin typeface="Arial" panose="020B0604020202020204" pitchFamily="34" charset="0"/>
                    </a:defRPr>
                  </a:lvl8pPr>
                  <a:lvl9pPr marL="3886200" indent="-228600" defTabSz="957263"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sz="1900"/>
                </a:p>
              </p:txBody>
            </p:sp>
            <p:sp>
              <p:nvSpPr>
                <p:cNvPr id="228" name="Freeform 89"/>
                <p:cNvSpPr>
                  <a:spLocks/>
                </p:cNvSpPr>
                <p:nvPr/>
              </p:nvSpPr>
              <p:spPr bwMode="auto">
                <a:xfrm>
                  <a:off x="-1576" y="1683"/>
                  <a:ext cx="3" cy="2"/>
                </a:xfrm>
                <a:custGeom>
                  <a:avLst/>
                  <a:gdLst>
                    <a:gd name="T0" fmla="*/ 0 w 3"/>
                    <a:gd name="T1" fmla="*/ 0 h 2"/>
                    <a:gd name="T2" fmla="*/ 0 w 3"/>
                    <a:gd name="T3" fmla="*/ 0 h 2"/>
                    <a:gd name="T4" fmla="*/ 0 w 3"/>
                    <a:gd name="T5" fmla="*/ 0 h 2"/>
                    <a:gd name="T6" fmla="*/ 0 w 3"/>
                    <a:gd name="T7" fmla="*/ 0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2">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29" name="Freeform 90"/>
                <p:cNvSpPr>
                  <a:spLocks/>
                </p:cNvSpPr>
                <p:nvPr/>
              </p:nvSpPr>
              <p:spPr bwMode="auto">
                <a:xfrm>
                  <a:off x="-1210" y="2810"/>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30" name="Freeform 91"/>
                <p:cNvSpPr>
                  <a:spLocks/>
                </p:cNvSpPr>
                <p:nvPr/>
              </p:nvSpPr>
              <p:spPr bwMode="auto">
                <a:xfrm>
                  <a:off x="-1057" y="3276"/>
                  <a:ext cx="7" cy="2"/>
                </a:xfrm>
                <a:custGeom>
                  <a:avLst/>
                  <a:gdLst>
                    <a:gd name="T0" fmla="*/ 3 w 3"/>
                    <a:gd name="T1" fmla="*/ 0 h 1"/>
                    <a:gd name="T2" fmla="*/ 0 w 3"/>
                    <a:gd name="T3" fmla="*/ 0 h 1"/>
                    <a:gd name="T4" fmla="*/ 1 w 3"/>
                    <a:gd name="T5" fmla="*/ 1 h 1"/>
                    <a:gd name="T6" fmla="*/ 3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31" name="Freeform 92"/>
                <p:cNvSpPr>
                  <a:spLocks/>
                </p:cNvSpPr>
                <p:nvPr/>
              </p:nvSpPr>
              <p:spPr bwMode="auto">
                <a:xfrm>
                  <a:off x="-1014" y="3357"/>
                  <a:ext cx="21" cy="31"/>
                </a:xfrm>
                <a:custGeom>
                  <a:avLst/>
                  <a:gdLst>
                    <a:gd name="T0" fmla="*/ 3 w 9"/>
                    <a:gd name="T1" fmla="*/ 0 h 13"/>
                    <a:gd name="T2" fmla="*/ 0 w 9"/>
                    <a:gd name="T3" fmla="*/ 0 h 13"/>
                    <a:gd name="T4" fmla="*/ 8 w 9"/>
                    <a:gd name="T5" fmla="*/ 13 h 13"/>
                    <a:gd name="T6" fmla="*/ 9 w 9"/>
                    <a:gd name="T7" fmla="*/ 12 h 13"/>
                    <a:gd name="T8" fmla="*/ 8 w 9"/>
                    <a:gd name="T9" fmla="*/ 9 h 13"/>
                    <a:gd name="T10" fmla="*/ 3 w 9"/>
                    <a:gd name="T11" fmla="*/ 0 h 1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32" name="Freeform 93"/>
                <p:cNvSpPr>
                  <a:spLocks/>
                </p:cNvSpPr>
                <p:nvPr/>
              </p:nvSpPr>
              <p:spPr bwMode="auto">
                <a:xfrm>
                  <a:off x="-1014" y="3355"/>
                  <a:ext cx="8" cy="2"/>
                </a:xfrm>
                <a:custGeom>
                  <a:avLst/>
                  <a:gdLst>
                    <a:gd name="T0" fmla="*/ 2 w 3"/>
                    <a:gd name="T1" fmla="*/ 0 h 1"/>
                    <a:gd name="T2" fmla="*/ 0 w 3"/>
                    <a:gd name="T3" fmla="*/ 0 h 1"/>
                    <a:gd name="T4" fmla="*/ 0 w 3"/>
                    <a:gd name="T5" fmla="*/ 1 h 1"/>
                    <a:gd name="T6" fmla="*/ 3 w 3"/>
                    <a:gd name="T7" fmla="*/ 1 h 1"/>
                    <a:gd name="T8" fmla="*/ 2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33" name="Freeform 94"/>
                <p:cNvSpPr>
                  <a:spLocks/>
                </p:cNvSpPr>
                <p:nvPr/>
              </p:nvSpPr>
              <p:spPr bwMode="auto">
                <a:xfrm>
                  <a:off x="-1246" y="2498"/>
                  <a:ext cx="5" cy="3"/>
                </a:xfrm>
                <a:custGeom>
                  <a:avLst/>
                  <a:gdLst>
                    <a:gd name="T0" fmla="*/ 5 w 5"/>
                    <a:gd name="T1" fmla="*/ 0 h 3"/>
                    <a:gd name="T2" fmla="*/ 0 w 5"/>
                    <a:gd name="T3" fmla="*/ 0 h 3"/>
                    <a:gd name="T4" fmla="*/ 0 w 5"/>
                    <a:gd name="T5" fmla="*/ 3 h 3"/>
                    <a:gd name="T6" fmla="*/ 5 w 5"/>
                    <a:gd name="T7" fmla="*/ 3 h 3"/>
                    <a:gd name="T8" fmla="*/ 5 w 5"/>
                    <a:gd name="T9" fmla="*/ 0 h 3"/>
                    <a:gd name="T10" fmla="*/ 5 w 5"/>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3">
                      <a:moveTo>
                        <a:pt x="5" y="0"/>
                      </a:moveTo>
                      <a:lnTo>
                        <a:pt x="0" y="0"/>
                      </a:lnTo>
                      <a:lnTo>
                        <a:pt x="0" y="3"/>
                      </a:lnTo>
                      <a:lnTo>
                        <a:pt x="5" y="3"/>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34" name="Freeform 95"/>
                <p:cNvSpPr>
                  <a:spLocks/>
                </p:cNvSpPr>
                <p:nvPr/>
              </p:nvSpPr>
              <p:spPr bwMode="auto">
                <a:xfrm>
                  <a:off x="-1282" y="2256"/>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35" name="Freeform 96"/>
                <p:cNvSpPr>
                  <a:spLocks noEditPoints="1"/>
                </p:cNvSpPr>
                <p:nvPr/>
              </p:nvSpPr>
              <p:spPr bwMode="auto">
                <a:xfrm>
                  <a:off x="-1637" y="1524"/>
                  <a:ext cx="820" cy="460"/>
                </a:xfrm>
                <a:custGeom>
                  <a:avLst/>
                  <a:gdLst>
                    <a:gd name="T0" fmla="*/ 243 w 346"/>
                    <a:gd name="T1" fmla="*/ 98 h 193"/>
                    <a:gd name="T2" fmla="*/ 241 w 346"/>
                    <a:gd name="T3" fmla="*/ 98 h 193"/>
                    <a:gd name="T4" fmla="*/ 345 w 346"/>
                    <a:gd name="T5" fmla="*/ 193 h 193"/>
                    <a:gd name="T6" fmla="*/ 346 w 346"/>
                    <a:gd name="T7" fmla="*/ 193 h 193"/>
                    <a:gd name="T8" fmla="*/ 243 w 346"/>
                    <a:gd name="T9" fmla="*/ 98 h 193"/>
                    <a:gd name="T10" fmla="*/ 186 w 346"/>
                    <a:gd name="T11" fmla="*/ 67 h 193"/>
                    <a:gd name="T12" fmla="*/ 184 w 346"/>
                    <a:gd name="T13" fmla="*/ 67 h 193"/>
                    <a:gd name="T14" fmla="*/ 239 w 346"/>
                    <a:gd name="T15" fmla="*/ 97 h 193"/>
                    <a:gd name="T16" fmla="*/ 241 w 346"/>
                    <a:gd name="T17" fmla="*/ 97 h 193"/>
                    <a:gd name="T18" fmla="*/ 186 w 346"/>
                    <a:gd name="T19" fmla="*/ 67 h 193"/>
                    <a:gd name="T20" fmla="*/ 0 w 346"/>
                    <a:gd name="T21" fmla="*/ 0 h 193"/>
                    <a:gd name="T22" fmla="*/ 0 w 346"/>
                    <a:gd name="T23" fmla="*/ 1 h 193"/>
                    <a:gd name="T24" fmla="*/ 11 w 346"/>
                    <a:gd name="T25" fmla="*/ 4 h 193"/>
                    <a:gd name="T26" fmla="*/ 182 w 346"/>
                    <a:gd name="T27" fmla="*/ 66 h 193"/>
                    <a:gd name="T28" fmla="*/ 185 w 346"/>
                    <a:gd name="T29" fmla="*/ 66 h 193"/>
                    <a:gd name="T30" fmla="*/ 0 w 346"/>
                    <a:gd name="T31" fmla="*/ 0 h 19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36" name="Freeform 97"/>
                <p:cNvSpPr>
                  <a:spLocks/>
                </p:cNvSpPr>
                <p:nvPr/>
              </p:nvSpPr>
              <p:spPr bwMode="auto">
                <a:xfrm>
                  <a:off x="-1070" y="1754"/>
                  <a:ext cx="8" cy="2"/>
                </a:xfrm>
                <a:custGeom>
                  <a:avLst/>
                  <a:gdLst>
                    <a:gd name="T0" fmla="*/ 2 w 4"/>
                    <a:gd name="T1" fmla="*/ 0 h 1"/>
                    <a:gd name="T2" fmla="*/ 0 w 4"/>
                    <a:gd name="T3" fmla="*/ 0 h 1"/>
                    <a:gd name="T4" fmla="*/ 2 w 4"/>
                    <a:gd name="T5" fmla="*/ 1 h 1"/>
                    <a:gd name="T6" fmla="*/ 4 w 4"/>
                    <a:gd name="T7" fmla="*/ 1 h 1"/>
                    <a:gd name="T8" fmla="*/ 2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37" name="Freeform 98"/>
                <p:cNvSpPr>
                  <a:spLocks/>
                </p:cNvSpPr>
                <p:nvPr/>
              </p:nvSpPr>
              <p:spPr bwMode="auto">
                <a:xfrm>
                  <a:off x="-1205" y="1682"/>
                  <a:ext cx="7" cy="3"/>
                </a:xfrm>
                <a:custGeom>
                  <a:avLst/>
                  <a:gdLst>
                    <a:gd name="T0" fmla="*/ 3 w 4"/>
                    <a:gd name="T1" fmla="*/ 0 h 1"/>
                    <a:gd name="T2" fmla="*/ 0 w 4"/>
                    <a:gd name="T3" fmla="*/ 0 h 1"/>
                    <a:gd name="T4" fmla="*/ 2 w 4"/>
                    <a:gd name="T5" fmla="*/ 1 h 1"/>
                    <a:gd name="T6" fmla="*/ 4 w 4"/>
                    <a:gd name="T7" fmla="*/ 1 h 1"/>
                    <a:gd name="T8" fmla="*/ 3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38" name="Freeform 99"/>
                <p:cNvSpPr>
                  <a:spLocks/>
                </p:cNvSpPr>
                <p:nvPr/>
              </p:nvSpPr>
              <p:spPr bwMode="auto">
                <a:xfrm>
                  <a:off x="-955" y="1987"/>
                  <a:ext cx="217" cy="270"/>
                </a:xfrm>
                <a:custGeom>
                  <a:avLst/>
                  <a:gdLst>
                    <a:gd name="T0" fmla="*/ 3 w 91"/>
                    <a:gd name="T1" fmla="*/ 0 h 114"/>
                    <a:gd name="T2" fmla="*/ 0 w 91"/>
                    <a:gd name="T3" fmla="*/ 0 h 114"/>
                    <a:gd name="T4" fmla="*/ 0 w 91"/>
                    <a:gd name="T5" fmla="*/ 0 h 114"/>
                    <a:gd name="T6" fmla="*/ 0 w 91"/>
                    <a:gd name="T7" fmla="*/ 0 h 114"/>
                    <a:gd name="T8" fmla="*/ 1 w 91"/>
                    <a:gd name="T9" fmla="*/ 0 h 114"/>
                    <a:gd name="T10" fmla="*/ 2 w 91"/>
                    <a:gd name="T11" fmla="*/ 1 h 114"/>
                    <a:gd name="T12" fmla="*/ 82 w 91"/>
                    <a:gd name="T13" fmla="*/ 100 h 114"/>
                    <a:gd name="T14" fmla="*/ 83 w 91"/>
                    <a:gd name="T15" fmla="*/ 100 h 114"/>
                    <a:gd name="T16" fmla="*/ 83 w 91"/>
                    <a:gd name="T17" fmla="*/ 101 h 114"/>
                    <a:gd name="T18" fmla="*/ 83 w 91"/>
                    <a:gd name="T19" fmla="*/ 101 h 114"/>
                    <a:gd name="T20" fmla="*/ 89 w 91"/>
                    <a:gd name="T21" fmla="*/ 114 h 114"/>
                    <a:gd name="T22" fmla="*/ 91 w 91"/>
                    <a:gd name="T23" fmla="*/ 114 h 114"/>
                    <a:gd name="T24" fmla="*/ 3 w 91"/>
                    <a:gd name="T25" fmla="*/ 0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39" name="Freeform 100"/>
                <p:cNvSpPr>
                  <a:spLocks/>
                </p:cNvSpPr>
                <p:nvPr/>
              </p:nvSpPr>
              <p:spPr bwMode="auto">
                <a:xfrm>
                  <a:off x="-761" y="2222"/>
                  <a:ext cx="3" cy="3"/>
                </a:xfrm>
                <a:custGeom>
                  <a:avLst/>
                  <a:gdLst>
                    <a:gd name="T0" fmla="*/ 1 w 1"/>
                    <a:gd name="T1" fmla="*/ 0 h 1"/>
                    <a:gd name="T2" fmla="*/ 0 w 1"/>
                    <a:gd name="T3" fmla="*/ 0 h 1"/>
                    <a:gd name="T4" fmla="*/ 1 w 1"/>
                    <a:gd name="T5" fmla="*/ 1 h 1"/>
                    <a:gd name="T6" fmla="*/ 1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40" name="Freeform 101"/>
                <p:cNvSpPr>
                  <a:spLocks noEditPoints="1"/>
                </p:cNvSpPr>
                <p:nvPr/>
              </p:nvSpPr>
              <p:spPr bwMode="auto">
                <a:xfrm>
                  <a:off x="-741" y="2260"/>
                  <a:ext cx="89" cy="1016"/>
                </a:xfrm>
                <a:custGeom>
                  <a:avLst/>
                  <a:gdLst>
                    <a:gd name="T0" fmla="*/ 26 w 38"/>
                    <a:gd name="T1" fmla="*/ 343 h 429"/>
                    <a:gd name="T2" fmla="*/ 24 w 38"/>
                    <a:gd name="T3" fmla="*/ 343 h 429"/>
                    <a:gd name="T4" fmla="*/ 24 w 38"/>
                    <a:gd name="T5" fmla="*/ 352 h 429"/>
                    <a:gd name="T6" fmla="*/ 20 w 38"/>
                    <a:gd name="T7" fmla="*/ 417 h 429"/>
                    <a:gd name="T8" fmla="*/ 19 w 38"/>
                    <a:gd name="T9" fmla="*/ 429 h 429"/>
                    <a:gd name="T10" fmla="*/ 21 w 38"/>
                    <a:gd name="T11" fmla="*/ 429 h 429"/>
                    <a:gd name="T12" fmla="*/ 24 w 38"/>
                    <a:gd name="T13" fmla="*/ 393 h 429"/>
                    <a:gd name="T14" fmla="*/ 26 w 38"/>
                    <a:gd name="T15" fmla="*/ 343 h 429"/>
                    <a:gd name="T16" fmla="*/ 38 w 38"/>
                    <a:gd name="T17" fmla="*/ 233 h 429"/>
                    <a:gd name="T18" fmla="*/ 36 w 38"/>
                    <a:gd name="T19" fmla="*/ 233 h 429"/>
                    <a:gd name="T20" fmla="*/ 24 w 38"/>
                    <a:gd name="T21" fmla="*/ 334 h 429"/>
                    <a:gd name="T22" fmla="*/ 24 w 38"/>
                    <a:gd name="T23" fmla="*/ 335 h 429"/>
                    <a:gd name="T24" fmla="*/ 24 w 38"/>
                    <a:gd name="T25" fmla="*/ 335 h 429"/>
                    <a:gd name="T26" fmla="*/ 24 w 38"/>
                    <a:gd name="T27" fmla="*/ 342 h 429"/>
                    <a:gd name="T28" fmla="*/ 26 w 38"/>
                    <a:gd name="T29" fmla="*/ 342 h 429"/>
                    <a:gd name="T30" fmla="*/ 26 w 38"/>
                    <a:gd name="T31" fmla="*/ 335 h 429"/>
                    <a:gd name="T32" fmla="*/ 37 w 38"/>
                    <a:gd name="T33" fmla="*/ 255 h 429"/>
                    <a:gd name="T34" fmla="*/ 35 w 38"/>
                    <a:gd name="T35" fmla="*/ 255 h 429"/>
                    <a:gd name="T36" fmla="*/ 35 w 38"/>
                    <a:gd name="T37" fmla="*/ 254 h 429"/>
                    <a:gd name="T38" fmla="*/ 37 w 38"/>
                    <a:gd name="T39" fmla="*/ 254 h 429"/>
                    <a:gd name="T40" fmla="*/ 38 w 38"/>
                    <a:gd name="T41" fmla="*/ 233 h 429"/>
                    <a:gd name="T42" fmla="*/ 35 w 38"/>
                    <a:gd name="T43" fmla="*/ 102 h 429"/>
                    <a:gd name="T44" fmla="*/ 33 w 38"/>
                    <a:gd name="T45" fmla="*/ 102 h 429"/>
                    <a:gd name="T46" fmla="*/ 35 w 38"/>
                    <a:gd name="T47" fmla="*/ 115 h 429"/>
                    <a:gd name="T48" fmla="*/ 35 w 38"/>
                    <a:gd name="T49" fmla="*/ 115 h 429"/>
                    <a:gd name="T50" fmla="*/ 35 w 38"/>
                    <a:gd name="T51" fmla="*/ 120 h 429"/>
                    <a:gd name="T52" fmla="*/ 37 w 38"/>
                    <a:gd name="T53" fmla="*/ 187 h 429"/>
                    <a:gd name="T54" fmla="*/ 36 w 38"/>
                    <a:gd name="T55" fmla="*/ 232 h 429"/>
                    <a:gd name="T56" fmla="*/ 38 w 38"/>
                    <a:gd name="T57" fmla="*/ 232 h 429"/>
                    <a:gd name="T58" fmla="*/ 38 w 38"/>
                    <a:gd name="T59" fmla="*/ 224 h 429"/>
                    <a:gd name="T60" fmla="*/ 38 w 38"/>
                    <a:gd name="T61" fmla="*/ 149 h 429"/>
                    <a:gd name="T62" fmla="*/ 37 w 38"/>
                    <a:gd name="T63" fmla="*/ 115 h 429"/>
                    <a:gd name="T64" fmla="*/ 37 w 38"/>
                    <a:gd name="T65" fmla="*/ 115 h 429"/>
                    <a:gd name="T66" fmla="*/ 37 w 38"/>
                    <a:gd name="T67" fmla="*/ 115 h 429"/>
                    <a:gd name="T68" fmla="*/ 35 w 38"/>
                    <a:gd name="T69" fmla="*/ 102 h 429"/>
                    <a:gd name="T70" fmla="*/ 2 w 38"/>
                    <a:gd name="T71" fmla="*/ 0 h 429"/>
                    <a:gd name="T72" fmla="*/ 0 w 38"/>
                    <a:gd name="T73" fmla="*/ 0 h 429"/>
                    <a:gd name="T74" fmla="*/ 33 w 38"/>
                    <a:gd name="T75" fmla="*/ 101 h 429"/>
                    <a:gd name="T76" fmla="*/ 35 w 38"/>
                    <a:gd name="T77" fmla="*/ 101 h 429"/>
                    <a:gd name="T78" fmla="*/ 2 w 38"/>
                    <a:gd name="T79" fmla="*/ 0 h 4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41" name="Freeform 102"/>
                <p:cNvSpPr>
                  <a:spLocks/>
                </p:cNvSpPr>
                <p:nvPr/>
              </p:nvSpPr>
              <p:spPr bwMode="auto">
                <a:xfrm>
                  <a:off x="-685" y="3070"/>
                  <a:ext cx="7"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42" name="Freeform 103"/>
                <p:cNvSpPr>
                  <a:spLocks/>
                </p:cNvSpPr>
                <p:nvPr/>
              </p:nvSpPr>
              <p:spPr bwMode="auto">
                <a:xfrm>
                  <a:off x="-659" y="2861"/>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43" name="Freeform 104"/>
                <p:cNvSpPr>
                  <a:spLocks noEditPoints="1"/>
                </p:cNvSpPr>
                <p:nvPr/>
              </p:nvSpPr>
              <p:spPr bwMode="auto">
                <a:xfrm>
                  <a:off x="-1681" y="1524"/>
                  <a:ext cx="989" cy="1876"/>
                </a:xfrm>
                <a:custGeom>
                  <a:avLst/>
                  <a:gdLst>
                    <a:gd name="T0" fmla="*/ 418 w 418"/>
                    <a:gd name="T1" fmla="*/ 740 h 791"/>
                    <a:gd name="T2" fmla="*/ 416 w 418"/>
                    <a:gd name="T3" fmla="*/ 740 h 791"/>
                    <a:gd name="T4" fmla="*/ 411 w 418"/>
                    <a:gd name="T5" fmla="*/ 772 h 791"/>
                    <a:gd name="T6" fmla="*/ 411 w 418"/>
                    <a:gd name="T7" fmla="*/ 772 h 791"/>
                    <a:gd name="T8" fmla="*/ 411 w 418"/>
                    <a:gd name="T9" fmla="*/ 773 h 791"/>
                    <a:gd name="T10" fmla="*/ 410 w 418"/>
                    <a:gd name="T11" fmla="*/ 773 h 791"/>
                    <a:gd name="T12" fmla="*/ 406 w 418"/>
                    <a:gd name="T13" fmla="*/ 790 h 791"/>
                    <a:gd name="T14" fmla="*/ 407 w 418"/>
                    <a:gd name="T15" fmla="*/ 791 h 791"/>
                    <a:gd name="T16" fmla="*/ 418 w 418"/>
                    <a:gd name="T17" fmla="*/ 740 h 791"/>
                    <a:gd name="T18" fmla="*/ 215 w 418"/>
                    <a:gd name="T19" fmla="*/ 98 h 791"/>
                    <a:gd name="T20" fmla="*/ 211 w 418"/>
                    <a:gd name="T21" fmla="*/ 98 h 791"/>
                    <a:gd name="T22" fmla="*/ 307 w 418"/>
                    <a:gd name="T23" fmla="*/ 194 h 791"/>
                    <a:gd name="T24" fmla="*/ 309 w 418"/>
                    <a:gd name="T25" fmla="*/ 194 h 791"/>
                    <a:gd name="T26" fmla="*/ 309 w 418"/>
                    <a:gd name="T27" fmla="*/ 194 h 791"/>
                    <a:gd name="T28" fmla="*/ 215 w 418"/>
                    <a:gd name="T29" fmla="*/ 98 h 791"/>
                    <a:gd name="T30" fmla="*/ 1 w 418"/>
                    <a:gd name="T31" fmla="*/ 0 h 791"/>
                    <a:gd name="T32" fmla="*/ 0 w 418"/>
                    <a:gd name="T33" fmla="*/ 2 h 791"/>
                    <a:gd name="T34" fmla="*/ 9 w 418"/>
                    <a:gd name="T35" fmla="*/ 4 h 791"/>
                    <a:gd name="T36" fmla="*/ 162 w 418"/>
                    <a:gd name="T37" fmla="*/ 66 h 791"/>
                    <a:gd name="T38" fmla="*/ 165 w 418"/>
                    <a:gd name="T39" fmla="*/ 66 h 791"/>
                    <a:gd name="T40" fmla="*/ 165 w 418"/>
                    <a:gd name="T41" fmla="*/ 67 h 791"/>
                    <a:gd name="T42" fmla="*/ 163 w 418"/>
                    <a:gd name="T43" fmla="*/ 67 h 791"/>
                    <a:gd name="T44" fmla="*/ 210 w 418"/>
                    <a:gd name="T45" fmla="*/ 97 h 791"/>
                    <a:gd name="T46" fmla="*/ 213 w 418"/>
                    <a:gd name="T47" fmla="*/ 97 h 791"/>
                    <a:gd name="T48" fmla="*/ 1 w 418"/>
                    <a:gd name="T49" fmla="*/ 0 h 79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44" name="Freeform 105"/>
                <p:cNvSpPr>
                  <a:spLocks/>
                </p:cNvSpPr>
                <p:nvPr/>
              </p:nvSpPr>
              <p:spPr bwMode="auto">
                <a:xfrm>
                  <a:off x="-1185" y="1754"/>
                  <a:ext cx="13" cy="2"/>
                </a:xfrm>
                <a:custGeom>
                  <a:avLst/>
                  <a:gdLst>
                    <a:gd name="T0" fmla="*/ 3 w 5"/>
                    <a:gd name="T1" fmla="*/ 0 h 1"/>
                    <a:gd name="T2" fmla="*/ 0 w 5"/>
                    <a:gd name="T3" fmla="*/ 0 h 1"/>
                    <a:gd name="T4" fmla="*/ 1 w 5"/>
                    <a:gd name="T5" fmla="*/ 1 h 1"/>
                    <a:gd name="T6" fmla="*/ 5 w 5"/>
                    <a:gd name="T7" fmla="*/ 1 h 1"/>
                    <a:gd name="T8" fmla="*/ 3 w 5"/>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45" name="Freeform 106"/>
                <p:cNvSpPr>
                  <a:spLocks/>
                </p:cNvSpPr>
                <p:nvPr/>
              </p:nvSpPr>
              <p:spPr bwMode="auto">
                <a:xfrm>
                  <a:off x="-1297" y="1682"/>
                  <a:ext cx="5" cy="3"/>
                </a:xfrm>
                <a:custGeom>
                  <a:avLst/>
                  <a:gdLst>
                    <a:gd name="T0" fmla="*/ 3 w 3"/>
                    <a:gd name="T1" fmla="*/ 0 h 1"/>
                    <a:gd name="T2" fmla="*/ 0 w 3"/>
                    <a:gd name="T3" fmla="*/ 0 h 1"/>
                    <a:gd name="T4" fmla="*/ 1 w 3"/>
                    <a:gd name="T5" fmla="*/ 1 h 1"/>
                    <a:gd name="T6" fmla="*/ 3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46" name="Freeform 107"/>
                <p:cNvSpPr>
                  <a:spLocks/>
                </p:cNvSpPr>
                <p:nvPr/>
              </p:nvSpPr>
              <p:spPr bwMode="auto">
                <a:xfrm>
                  <a:off x="-656" y="2810"/>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47" name="Freeform 108"/>
                <p:cNvSpPr>
                  <a:spLocks/>
                </p:cNvSpPr>
                <p:nvPr/>
              </p:nvSpPr>
              <p:spPr bwMode="auto">
                <a:xfrm>
                  <a:off x="-697" y="3276"/>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48" name="Freeform 109"/>
                <p:cNvSpPr>
                  <a:spLocks/>
                </p:cNvSpPr>
                <p:nvPr/>
              </p:nvSpPr>
              <p:spPr bwMode="auto">
                <a:xfrm>
                  <a:off x="-713" y="3355"/>
                  <a:ext cx="3" cy="2"/>
                </a:xfrm>
                <a:custGeom>
                  <a:avLst/>
                  <a:gdLst>
                    <a:gd name="T0" fmla="*/ 1 w 1"/>
                    <a:gd name="T1" fmla="*/ 0 h 1"/>
                    <a:gd name="T2" fmla="*/ 1 w 1"/>
                    <a:gd name="T3" fmla="*/ 0 h 1"/>
                    <a:gd name="T4" fmla="*/ 0 w 1"/>
                    <a:gd name="T5" fmla="*/ 1 h 1"/>
                    <a:gd name="T6" fmla="*/ 1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49" name="Freeform 110"/>
                <p:cNvSpPr>
                  <a:spLocks/>
                </p:cNvSpPr>
                <p:nvPr/>
              </p:nvSpPr>
              <p:spPr bwMode="auto">
                <a:xfrm>
                  <a:off x="-664" y="2498"/>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50" name="Freeform 111"/>
                <p:cNvSpPr>
                  <a:spLocks/>
                </p:cNvSpPr>
                <p:nvPr/>
              </p:nvSpPr>
              <p:spPr bwMode="auto">
                <a:xfrm>
                  <a:off x="-746" y="2256"/>
                  <a:ext cx="8" cy="3"/>
                </a:xfrm>
                <a:custGeom>
                  <a:avLst/>
                  <a:gdLst>
                    <a:gd name="T0" fmla="*/ 2 w 3"/>
                    <a:gd name="T1" fmla="*/ 0 h 1"/>
                    <a:gd name="T2" fmla="*/ 0 w 3"/>
                    <a:gd name="T3" fmla="*/ 0 h 1"/>
                    <a:gd name="T4" fmla="*/ 1 w 3"/>
                    <a:gd name="T5" fmla="*/ 1 h 1"/>
                    <a:gd name="T6" fmla="*/ 3 w 3"/>
                    <a:gd name="T7" fmla="*/ 1 h 1"/>
                    <a:gd name="T8" fmla="*/ 2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51" name="Freeform 112"/>
                <p:cNvSpPr>
                  <a:spLocks noEditPoints="1"/>
                </p:cNvSpPr>
                <p:nvPr/>
              </p:nvSpPr>
              <p:spPr bwMode="auto">
                <a:xfrm>
                  <a:off x="-1101" y="1987"/>
                  <a:ext cx="182" cy="270"/>
                </a:xfrm>
                <a:custGeom>
                  <a:avLst/>
                  <a:gdLst>
                    <a:gd name="T0" fmla="*/ 69 w 76"/>
                    <a:gd name="T1" fmla="*/ 101 h 114"/>
                    <a:gd name="T2" fmla="*/ 67 w 76"/>
                    <a:gd name="T3" fmla="*/ 101 h 114"/>
                    <a:gd name="T4" fmla="*/ 74 w 76"/>
                    <a:gd name="T5" fmla="*/ 114 h 114"/>
                    <a:gd name="T6" fmla="*/ 76 w 76"/>
                    <a:gd name="T7" fmla="*/ 114 h 114"/>
                    <a:gd name="T8" fmla="*/ 69 w 76"/>
                    <a:gd name="T9" fmla="*/ 101 h 114"/>
                    <a:gd name="T10" fmla="*/ 2 w 76"/>
                    <a:gd name="T11" fmla="*/ 0 h 114"/>
                    <a:gd name="T12" fmla="*/ 0 w 76"/>
                    <a:gd name="T13" fmla="*/ 0 h 114"/>
                    <a:gd name="T14" fmla="*/ 8 w 76"/>
                    <a:gd name="T15" fmla="*/ 11 h 114"/>
                    <a:gd name="T16" fmla="*/ 66 w 76"/>
                    <a:gd name="T17" fmla="*/ 100 h 114"/>
                    <a:gd name="T18" fmla="*/ 68 w 76"/>
                    <a:gd name="T19" fmla="*/ 100 h 114"/>
                    <a:gd name="T20" fmla="*/ 10 w 76"/>
                    <a:gd name="T21" fmla="*/ 10 h 114"/>
                    <a:gd name="T22" fmla="*/ 2 w 76"/>
                    <a:gd name="T23" fmla="*/ 0 h 1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52" name="Freeform 113"/>
                <p:cNvSpPr>
                  <a:spLocks/>
                </p:cNvSpPr>
                <p:nvPr/>
              </p:nvSpPr>
              <p:spPr bwMode="auto">
                <a:xfrm>
                  <a:off x="-943" y="2222"/>
                  <a:ext cx="8" cy="3"/>
                </a:xfrm>
                <a:custGeom>
                  <a:avLst/>
                  <a:gdLst>
                    <a:gd name="T0" fmla="*/ 2 w 3"/>
                    <a:gd name="T1" fmla="*/ 0 h 1"/>
                    <a:gd name="T2" fmla="*/ 0 w 3"/>
                    <a:gd name="T3" fmla="*/ 0 h 1"/>
                    <a:gd name="T4" fmla="*/ 1 w 3"/>
                    <a:gd name="T5" fmla="*/ 1 h 1"/>
                    <a:gd name="T6" fmla="*/ 3 w 3"/>
                    <a:gd name="T7" fmla="*/ 1 h 1"/>
                    <a:gd name="T8" fmla="*/ 2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53" name="Freeform 114"/>
                <p:cNvSpPr>
                  <a:spLocks noEditPoints="1"/>
                </p:cNvSpPr>
                <p:nvPr/>
              </p:nvSpPr>
              <p:spPr bwMode="auto">
                <a:xfrm>
                  <a:off x="-924" y="2260"/>
                  <a:ext cx="107" cy="1016"/>
                </a:xfrm>
                <a:custGeom>
                  <a:avLst/>
                  <a:gdLst>
                    <a:gd name="T0" fmla="*/ 39 w 46"/>
                    <a:gd name="T1" fmla="*/ 343 h 429"/>
                    <a:gd name="T2" fmla="*/ 37 w 46"/>
                    <a:gd name="T3" fmla="*/ 343 h 429"/>
                    <a:gd name="T4" fmla="*/ 44 w 46"/>
                    <a:gd name="T5" fmla="*/ 429 h 429"/>
                    <a:gd name="T6" fmla="*/ 46 w 46"/>
                    <a:gd name="T7" fmla="*/ 429 h 429"/>
                    <a:gd name="T8" fmla="*/ 39 w 46"/>
                    <a:gd name="T9" fmla="*/ 343 h 429"/>
                    <a:gd name="T10" fmla="*/ 36 w 46"/>
                    <a:gd name="T11" fmla="*/ 233 h 429"/>
                    <a:gd name="T12" fmla="*/ 34 w 46"/>
                    <a:gd name="T13" fmla="*/ 233 h 429"/>
                    <a:gd name="T14" fmla="*/ 37 w 46"/>
                    <a:gd name="T15" fmla="*/ 335 h 429"/>
                    <a:gd name="T16" fmla="*/ 37 w 46"/>
                    <a:gd name="T17" fmla="*/ 335 h 429"/>
                    <a:gd name="T18" fmla="*/ 37 w 46"/>
                    <a:gd name="T19" fmla="*/ 337 h 429"/>
                    <a:gd name="T20" fmla="*/ 37 w 46"/>
                    <a:gd name="T21" fmla="*/ 342 h 429"/>
                    <a:gd name="T22" fmla="*/ 39 w 46"/>
                    <a:gd name="T23" fmla="*/ 342 h 429"/>
                    <a:gd name="T24" fmla="*/ 39 w 46"/>
                    <a:gd name="T25" fmla="*/ 337 h 429"/>
                    <a:gd name="T26" fmla="*/ 39 w 46"/>
                    <a:gd name="T27" fmla="*/ 335 h 429"/>
                    <a:gd name="T28" fmla="*/ 39 w 46"/>
                    <a:gd name="T29" fmla="*/ 335 h 429"/>
                    <a:gd name="T30" fmla="*/ 39 w 46"/>
                    <a:gd name="T31" fmla="*/ 335 h 429"/>
                    <a:gd name="T32" fmla="*/ 36 w 46"/>
                    <a:gd name="T33" fmla="*/ 233 h 429"/>
                    <a:gd name="T34" fmla="*/ 30 w 46"/>
                    <a:gd name="T35" fmla="*/ 102 h 429"/>
                    <a:gd name="T36" fmla="*/ 28 w 46"/>
                    <a:gd name="T37" fmla="*/ 102 h 429"/>
                    <a:gd name="T38" fmla="*/ 30 w 46"/>
                    <a:gd name="T39" fmla="*/ 113 h 429"/>
                    <a:gd name="T40" fmla="*/ 34 w 46"/>
                    <a:gd name="T41" fmla="*/ 229 h 429"/>
                    <a:gd name="T42" fmla="*/ 34 w 46"/>
                    <a:gd name="T43" fmla="*/ 232 h 429"/>
                    <a:gd name="T44" fmla="*/ 36 w 46"/>
                    <a:gd name="T45" fmla="*/ 232 h 429"/>
                    <a:gd name="T46" fmla="*/ 32 w 46"/>
                    <a:gd name="T47" fmla="*/ 113 h 429"/>
                    <a:gd name="T48" fmla="*/ 30 w 46"/>
                    <a:gd name="T49" fmla="*/ 102 h 429"/>
                    <a:gd name="T50" fmla="*/ 3 w 46"/>
                    <a:gd name="T51" fmla="*/ 0 h 429"/>
                    <a:gd name="T52" fmla="*/ 0 w 46"/>
                    <a:gd name="T53" fmla="*/ 0 h 429"/>
                    <a:gd name="T54" fmla="*/ 2 w 46"/>
                    <a:gd name="T55" fmla="*/ 2 h 429"/>
                    <a:gd name="T56" fmla="*/ 28 w 46"/>
                    <a:gd name="T57" fmla="*/ 101 h 429"/>
                    <a:gd name="T58" fmla="*/ 30 w 46"/>
                    <a:gd name="T59" fmla="*/ 101 h 429"/>
                    <a:gd name="T60" fmla="*/ 4 w 46"/>
                    <a:gd name="T61" fmla="*/ 2 h 429"/>
                    <a:gd name="T62" fmla="*/ 3 w 46"/>
                    <a:gd name="T63" fmla="*/ 0 h 42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54" name="Freeform 115"/>
                <p:cNvSpPr>
                  <a:spLocks/>
                </p:cNvSpPr>
                <p:nvPr/>
              </p:nvSpPr>
              <p:spPr bwMode="auto">
                <a:xfrm>
                  <a:off x="-835" y="3070"/>
                  <a:ext cx="2"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55" name="Freeform 116"/>
                <p:cNvSpPr>
                  <a:spLocks noEditPoints="1"/>
                </p:cNvSpPr>
                <p:nvPr/>
              </p:nvSpPr>
              <p:spPr bwMode="auto">
                <a:xfrm>
                  <a:off x="-1711" y="1524"/>
                  <a:ext cx="904" cy="1833"/>
                </a:xfrm>
                <a:custGeom>
                  <a:avLst/>
                  <a:gdLst>
                    <a:gd name="T0" fmla="*/ 379 w 383"/>
                    <a:gd name="T1" fmla="*/ 740 h 773"/>
                    <a:gd name="T2" fmla="*/ 377 w 383"/>
                    <a:gd name="T3" fmla="*/ 740 h 773"/>
                    <a:gd name="T4" fmla="*/ 381 w 383"/>
                    <a:gd name="T5" fmla="*/ 772 h 773"/>
                    <a:gd name="T6" fmla="*/ 383 w 383"/>
                    <a:gd name="T7" fmla="*/ 772 h 773"/>
                    <a:gd name="T8" fmla="*/ 383 w 383"/>
                    <a:gd name="T9" fmla="*/ 773 h 773"/>
                    <a:gd name="T10" fmla="*/ 383 w 383"/>
                    <a:gd name="T11" fmla="*/ 773 h 773"/>
                    <a:gd name="T12" fmla="*/ 382 w 383"/>
                    <a:gd name="T13" fmla="*/ 760 h 773"/>
                    <a:gd name="T14" fmla="*/ 379 w 383"/>
                    <a:gd name="T15" fmla="*/ 740 h 773"/>
                    <a:gd name="T16" fmla="*/ 179 w 383"/>
                    <a:gd name="T17" fmla="*/ 98 h 773"/>
                    <a:gd name="T18" fmla="*/ 176 w 383"/>
                    <a:gd name="T19" fmla="*/ 98 h 773"/>
                    <a:gd name="T20" fmla="*/ 189 w 383"/>
                    <a:gd name="T21" fmla="*/ 109 h 773"/>
                    <a:gd name="T22" fmla="*/ 258 w 383"/>
                    <a:gd name="T23" fmla="*/ 194 h 773"/>
                    <a:gd name="T24" fmla="*/ 261 w 383"/>
                    <a:gd name="T25" fmla="*/ 194 h 773"/>
                    <a:gd name="T26" fmla="*/ 190 w 383"/>
                    <a:gd name="T27" fmla="*/ 107 h 773"/>
                    <a:gd name="T28" fmla="*/ 179 w 383"/>
                    <a:gd name="T29" fmla="*/ 98 h 773"/>
                    <a:gd name="T30" fmla="*/ 1 w 383"/>
                    <a:gd name="T31" fmla="*/ 0 h 773"/>
                    <a:gd name="T32" fmla="*/ 0 w 383"/>
                    <a:gd name="T33" fmla="*/ 2 h 773"/>
                    <a:gd name="T34" fmla="*/ 175 w 383"/>
                    <a:gd name="T35" fmla="*/ 97 h 773"/>
                    <a:gd name="T36" fmla="*/ 178 w 383"/>
                    <a:gd name="T37" fmla="*/ 97 h 773"/>
                    <a:gd name="T38" fmla="*/ 1 w 383"/>
                    <a:gd name="T39" fmla="*/ 0 h 77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56" name="Freeform 117"/>
                <p:cNvSpPr>
                  <a:spLocks/>
                </p:cNvSpPr>
                <p:nvPr/>
              </p:nvSpPr>
              <p:spPr bwMode="auto">
                <a:xfrm>
                  <a:off x="-1297" y="1754"/>
                  <a:ext cx="7" cy="2"/>
                </a:xfrm>
                <a:custGeom>
                  <a:avLst/>
                  <a:gdLst>
                    <a:gd name="T0" fmla="*/ 3 w 4"/>
                    <a:gd name="T1" fmla="*/ 0 h 1"/>
                    <a:gd name="T2" fmla="*/ 0 w 4"/>
                    <a:gd name="T3" fmla="*/ 0 h 1"/>
                    <a:gd name="T4" fmla="*/ 1 w 4"/>
                    <a:gd name="T5" fmla="*/ 1 h 1"/>
                    <a:gd name="T6" fmla="*/ 4 w 4"/>
                    <a:gd name="T7" fmla="*/ 1 h 1"/>
                    <a:gd name="T8" fmla="*/ 3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57" name="Freeform 118"/>
                <p:cNvSpPr>
                  <a:spLocks/>
                </p:cNvSpPr>
                <p:nvPr/>
              </p:nvSpPr>
              <p:spPr bwMode="auto">
                <a:xfrm>
                  <a:off x="-843" y="2810"/>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58" name="Freeform 119"/>
                <p:cNvSpPr>
                  <a:spLocks/>
                </p:cNvSpPr>
                <p:nvPr/>
              </p:nvSpPr>
              <p:spPr bwMode="auto">
                <a:xfrm>
                  <a:off x="-820" y="3276"/>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59" name="Freeform 120"/>
                <p:cNvSpPr>
                  <a:spLocks/>
                </p:cNvSpPr>
                <p:nvPr/>
              </p:nvSpPr>
              <p:spPr bwMode="auto">
                <a:xfrm>
                  <a:off x="-810" y="3357"/>
                  <a:ext cx="3" cy="0"/>
                </a:xfrm>
                <a:custGeom>
                  <a:avLst/>
                  <a:gdLst>
                    <a:gd name="T0" fmla="*/ 1 w 1"/>
                    <a:gd name="T1" fmla="*/ 0 w 1"/>
                    <a:gd name="T2" fmla="*/ 0 w 1"/>
                    <a:gd name="T3" fmla="*/ 1 w 1"/>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60" name="Freeform 121"/>
                <p:cNvSpPr>
                  <a:spLocks/>
                </p:cNvSpPr>
                <p:nvPr/>
              </p:nvSpPr>
              <p:spPr bwMode="auto">
                <a:xfrm>
                  <a:off x="-810" y="3355"/>
                  <a:ext cx="3" cy="2"/>
                </a:xfrm>
                <a:custGeom>
                  <a:avLst/>
                  <a:gdLst>
                    <a:gd name="T0" fmla="*/ 2 w 2"/>
                    <a:gd name="T1" fmla="*/ 0 h 1"/>
                    <a:gd name="T2" fmla="*/ 0 w 2"/>
                    <a:gd name="T3" fmla="*/ 0 h 1"/>
                    <a:gd name="T4" fmla="*/ 0 w 2"/>
                    <a:gd name="T5" fmla="*/ 1 h 1"/>
                    <a:gd name="T6" fmla="*/ 1 w 2"/>
                    <a:gd name="T7" fmla="*/ 1 h 1"/>
                    <a:gd name="T8" fmla="*/ 2 w 2"/>
                    <a:gd name="T9" fmla="*/ 1 h 1"/>
                    <a:gd name="T10" fmla="*/ 2 w 2"/>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61" name="Freeform 122"/>
                <p:cNvSpPr>
                  <a:spLocks/>
                </p:cNvSpPr>
                <p:nvPr/>
              </p:nvSpPr>
              <p:spPr bwMode="auto">
                <a:xfrm>
                  <a:off x="-858" y="2498"/>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62" name="Freeform 123"/>
                <p:cNvSpPr>
                  <a:spLocks/>
                </p:cNvSpPr>
                <p:nvPr/>
              </p:nvSpPr>
              <p:spPr bwMode="auto">
                <a:xfrm>
                  <a:off x="-924" y="2256"/>
                  <a:ext cx="7" cy="3"/>
                </a:xfrm>
                <a:custGeom>
                  <a:avLst/>
                  <a:gdLst>
                    <a:gd name="T0" fmla="*/ 2 w 3"/>
                    <a:gd name="T1" fmla="*/ 0 h 1"/>
                    <a:gd name="T2" fmla="*/ 0 w 3"/>
                    <a:gd name="T3" fmla="*/ 0 h 1"/>
                    <a:gd name="T4" fmla="*/ 0 w 3"/>
                    <a:gd name="T5" fmla="*/ 1 h 1"/>
                    <a:gd name="T6" fmla="*/ 3 w 3"/>
                    <a:gd name="T7" fmla="*/ 1 h 1"/>
                    <a:gd name="T8" fmla="*/ 2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63" name="Freeform 124"/>
                <p:cNvSpPr>
                  <a:spLocks noEditPoints="1"/>
                </p:cNvSpPr>
                <p:nvPr/>
              </p:nvSpPr>
              <p:spPr bwMode="auto">
                <a:xfrm>
                  <a:off x="-2698" y="2452"/>
                  <a:ext cx="105" cy="824"/>
                </a:xfrm>
                <a:custGeom>
                  <a:avLst/>
                  <a:gdLst>
                    <a:gd name="T0" fmla="*/ 16 w 45"/>
                    <a:gd name="T1" fmla="*/ 262 h 348"/>
                    <a:gd name="T2" fmla="*/ 14 w 45"/>
                    <a:gd name="T3" fmla="*/ 262 h 348"/>
                    <a:gd name="T4" fmla="*/ 14 w 45"/>
                    <a:gd name="T5" fmla="*/ 266 h 348"/>
                    <a:gd name="T6" fmla="*/ 0 w 45"/>
                    <a:gd name="T7" fmla="*/ 348 h 348"/>
                    <a:gd name="T8" fmla="*/ 2 w 45"/>
                    <a:gd name="T9" fmla="*/ 348 h 348"/>
                    <a:gd name="T10" fmla="*/ 16 w 45"/>
                    <a:gd name="T11" fmla="*/ 262 h 348"/>
                    <a:gd name="T12" fmla="*/ 34 w 45"/>
                    <a:gd name="T13" fmla="*/ 152 h 348"/>
                    <a:gd name="T14" fmla="*/ 32 w 45"/>
                    <a:gd name="T15" fmla="*/ 152 h 348"/>
                    <a:gd name="T16" fmla="*/ 20 w 45"/>
                    <a:gd name="T17" fmla="*/ 239 h 348"/>
                    <a:gd name="T18" fmla="*/ 16 w 45"/>
                    <a:gd name="T19" fmla="*/ 256 h 348"/>
                    <a:gd name="T20" fmla="*/ 15 w 45"/>
                    <a:gd name="T21" fmla="*/ 260 h 348"/>
                    <a:gd name="T22" fmla="*/ 15 w 45"/>
                    <a:gd name="T23" fmla="*/ 260 h 348"/>
                    <a:gd name="T24" fmla="*/ 15 w 45"/>
                    <a:gd name="T25" fmla="*/ 261 h 348"/>
                    <a:gd name="T26" fmla="*/ 15 w 45"/>
                    <a:gd name="T27" fmla="*/ 261 h 348"/>
                    <a:gd name="T28" fmla="*/ 15 w 45"/>
                    <a:gd name="T29" fmla="*/ 261 h 348"/>
                    <a:gd name="T30" fmla="*/ 17 w 45"/>
                    <a:gd name="T31" fmla="*/ 261 h 348"/>
                    <a:gd name="T32" fmla="*/ 34 w 45"/>
                    <a:gd name="T33" fmla="*/ 152 h 348"/>
                    <a:gd name="T34" fmla="*/ 43 w 45"/>
                    <a:gd name="T35" fmla="*/ 21 h 348"/>
                    <a:gd name="T36" fmla="*/ 41 w 45"/>
                    <a:gd name="T37" fmla="*/ 21 h 348"/>
                    <a:gd name="T38" fmla="*/ 43 w 45"/>
                    <a:gd name="T39" fmla="*/ 52 h 348"/>
                    <a:gd name="T40" fmla="*/ 43 w 45"/>
                    <a:gd name="T41" fmla="*/ 55 h 348"/>
                    <a:gd name="T42" fmla="*/ 43 w 45"/>
                    <a:gd name="T43" fmla="*/ 55 h 348"/>
                    <a:gd name="T44" fmla="*/ 42 w 45"/>
                    <a:gd name="T45" fmla="*/ 66 h 348"/>
                    <a:gd name="T46" fmla="*/ 32 w 45"/>
                    <a:gd name="T47" fmla="*/ 151 h 348"/>
                    <a:gd name="T48" fmla="*/ 34 w 45"/>
                    <a:gd name="T49" fmla="*/ 151 h 348"/>
                    <a:gd name="T50" fmla="*/ 45 w 45"/>
                    <a:gd name="T51" fmla="*/ 55 h 348"/>
                    <a:gd name="T52" fmla="*/ 45 w 45"/>
                    <a:gd name="T53" fmla="*/ 55 h 348"/>
                    <a:gd name="T54" fmla="*/ 45 w 45"/>
                    <a:gd name="T55" fmla="*/ 52 h 348"/>
                    <a:gd name="T56" fmla="*/ 43 w 45"/>
                    <a:gd name="T57" fmla="*/ 21 h 348"/>
                    <a:gd name="T58" fmla="*/ 41 w 45"/>
                    <a:gd name="T59" fmla="*/ 0 h 348"/>
                    <a:gd name="T60" fmla="*/ 41 w 45"/>
                    <a:gd name="T61" fmla="*/ 1 h 348"/>
                    <a:gd name="T62" fmla="*/ 39 w 45"/>
                    <a:gd name="T63" fmla="*/ 1 h 348"/>
                    <a:gd name="T64" fmla="*/ 39 w 45"/>
                    <a:gd name="T65" fmla="*/ 1 h 348"/>
                    <a:gd name="T66" fmla="*/ 41 w 45"/>
                    <a:gd name="T67" fmla="*/ 20 h 348"/>
                    <a:gd name="T68" fmla="*/ 43 w 45"/>
                    <a:gd name="T69" fmla="*/ 20 h 348"/>
                    <a:gd name="T70" fmla="*/ 41 w 45"/>
                    <a:gd name="T71" fmla="*/ 0 h 34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64" name="Freeform 125"/>
                <p:cNvSpPr>
                  <a:spLocks/>
                </p:cNvSpPr>
                <p:nvPr/>
              </p:nvSpPr>
              <p:spPr bwMode="auto">
                <a:xfrm>
                  <a:off x="-2667" y="3070"/>
                  <a:ext cx="8" cy="2"/>
                </a:xfrm>
                <a:custGeom>
                  <a:avLst/>
                  <a:gdLst>
                    <a:gd name="T0" fmla="*/ 3 w 3"/>
                    <a:gd name="T1" fmla="*/ 0 h 1"/>
                    <a:gd name="T2" fmla="*/ 1 w 3"/>
                    <a:gd name="T3" fmla="*/ 0 h 1"/>
                    <a:gd name="T4" fmla="*/ 1 w 3"/>
                    <a:gd name="T5" fmla="*/ 0 h 1"/>
                    <a:gd name="T6" fmla="*/ 0 w 3"/>
                    <a:gd name="T7" fmla="*/ 1 h 1"/>
                    <a:gd name="T8" fmla="*/ 2 w 3"/>
                    <a:gd name="T9" fmla="*/ 1 h 1"/>
                    <a:gd name="T10" fmla="*/ 3 w 3"/>
                    <a:gd name="T11" fmla="*/ 0 h 1"/>
                    <a:gd name="T12" fmla="*/ 3 w 3"/>
                    <a:gd name="T13" fmla="*/ 0 h 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65" name="Freeform 126"/>
                <p:cNvSpPr>
                  <a:spLocks/>
                </p:cNvSpPr>
                <p:nvPr/>
              </p:nvSpPr>
              <p:spPr bwMode="auto">
                <a:xfrm>
                  <a:off x="-2795" y="3278"/>
                  <a:ext cx="102" cy="260"/>
                </a:xfrm>
                <a:custGeom>
                  <a:avLst/>
                  <a:gdLst>
                    <a:gd name="T0" fmla="*/ 43 w 43"/>
                    <a:gd name="T1" fmla="*/ 0 h 109"/>
                    <a:gd name="T2" fmla="*/ 40 w 43"/>
                    <a:gd name="T3" fmla="*/ 0 h 109"/>
                    <a:gd name="T4" fmla="*/ 0 w 43"/>
                    <a:gd name="T5" fmla="*/ 108 h 109"/>
                    <a:gd name="T6" fmla="*/ 1 w 43"/>
                    <a:gd name="T7" fmla="*/ 109 h 109"/>
                    <a:gd name="T8" fmla="*/ 2 w 43"/>
                    <a:gd name="T9" fmla="*/ 109 h 109"/>
                    <a:gd name="T10" fmla="*/ 33 w 43"/>
                    <a:gd name="T11" fmla="*/ 33 h 109"/>
                    <a:gd name="T12" fmla="*/ 33 w 43"/>
                    <a:gd name="T13" fmla="*/ 32 h 109"/>
                    <a:gd name="T14" fmla="*/ 34 w 43"/>
                    <a:gd name="T15" fmla="*/ 32 h 109"/>
                    <a:gd name="T16" fmla="*/ 43 w 43"/>
                    <a:gd name="T17" fmla="*/ 0 h 1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66" name="Freeform 127"/>
                <p:cNvSpPr>
                  <a:spLocks/>
                </p:cNvSpPr>
                <p:nvPr/>
              </p:nvSpPr>
              <p:spPr bwMode="auto">
                <a:xfrm>
                  <a:off x="-2623" y="2810"/>
                  <a:ext cx="3" cy="3"/>
                </a:xfrm>
                <a:custGeom>
                  <a:avLst/>
                  <a:gdLst>
                    <a:gd name="T0" fmla="*/ 2 w 2"/>
                    <a:gd name="T1" fmla="*/ 0 h 1"/>
                    <a:gd name="T2" fmla="*/ 0 w 2"/>
                    <a:gd name="T3" fmla="*/ 0 h 1"/>
                    <a:gd name="T4" fmla="*/ 0 w 2"/>
                    <a:gd name="T5" fmla="*/ 0 h 1"/>
                    <a:gd name="T6" fmla="*/ 0 w 2"/>
                    <a:gd name="T7" fmla="*/ 0 h 1"/>
                    <a:gd name="T8" fmla="*/ 0 w 2"/>
                    <a:gd name="T9" fmla="*/ 0 h 1"/>
                    <a:gd name="T10" fmla="*/ 0 w 2"/>
                    <a:gd name="T11" fmla="*/ 1 h 1"/>
                    <a:gd name="T12" fmla="*/ 2 w 2"/>
                    <a:gd name="T13" fmla="*/ 1 h 1"/>
                    <a:gd name="T14" fmla="*/ 2 w 2"/>
                    <a:gd name="T15" fmla="*/ 1 h 1"/>
                    <a:gd name="T16" fmla="*/ 2 w 2"/>
                    <a:gd name="T17" fmla="*/ 1 h 1"/>
                    <a:gd name="T18" fmla="*/ 2 w 2"/>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67" name="Freeform 128"/>
                <p:cNvSpPr>
                  <a:spLocks/>
                </p:cNvSpPr>
                <p:nvPr/>
              </p:nvSpPr>
              <p:spPr bwMode="auto">
                <a:xfrm>
                  <a:off x="-2702" y="3276"/>
                  <a:ext cx="8" cy="2"/>
                </a:xfrm>
                <a:custGeom>
                  <a:avLst/>
                  <a:gdLst>
                    <a:gd name="T0" fmla="*/ 3 w 3"/>
                    <a:gd name="T1" fmla="*/ 0 h 1"/>
                    <a:gd name="T2" fmla="*/ 1 w 3"/>
                    <a:gd name="T3" fmla="*/ 0 h 1"/>
                    <a:gd name="T4" fmla="*/ 0 w 3"/>
                    <a:gd name="T5" fmla="*/ 1 h 1"/>
                    <a:gd name="T6" fmla="*/ 3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68" name="Freeform 129"/>
                <p:cNvSpPr>
                  <a:spLocks/>
                </p:cNvSpPr>
                <p:nvPr/>
              </p:nvSpPr>
              <p:spPr bwMode="auto">
                <a:xfrm>
                  <a:off x="-2718" y="3355"/>
                  <a:ext cx="2" cy="2"/>
                </a:xfrm>
                <a:custGeom>
                  <a:avLst/>
                  <a:gdLst>
                    <a:gd name="T0" fmla="*/ 1 w 1"/>
                    <a:gd name="T1" fmla="*/ 0 h 1"/>
                    <a:gd name="T2" fmla="*/ 0 w 1"/>
                    <a:gd name="T3" fmla="*/ 0 h 1"/>
                    <a:gd name="T4" fmla="*/ 0 w 1"/>
                    <a:gd name="T5" fmla="*/ 1 h 1"/>
                    <a:gd name="T6" fmla="*/ 1 w 1"/>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69" name="Freeform 130"/>
                <p:cNvSpPr>
                  <a:spLocks/>
                </p:cNvSpPr>
                <p:nvPr/>
              </p:nvSpPr>
              <p:spPr bwMode="auto">
                <a:xfrm>
                  <a:off x="-2601" y="2498"/>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70" name="Freeform 131"/>
                <p:cNvSpPr>
                  <a:spLocks noEditPoints="1"/>
                </p:cNvSpPr>
                <p:nvPr/>
              </p:nvSpPr>
              <p:spPr bwMode="auto">
                <a:xfrm>
                  <a:off x="-3768" y="1987"/>
                  <a:ext cx="118" cy="270"/>
                </a:xfrm>
                <a:custGeom>
                  <a:avLst/>
                  <a:gdLst>
                    <a:gd name="T0" fmla="*/ 6 w 50"/>
                    <a:gd name="T1" fmla="*/ 101 h 114"/>
                    <a:gd name="T2" fmla="*/ 4 w 50"/>
                    <a:gd name="T3" fmla="*/ 101 h 114"/>
                    <a:gd name="T4" fmla="*/ 0 w 50"/>
                    <a:gd name="T5" fmla="*/ 114 h 114"/>
                    <a:gd name="T6" fmla="*/ 3 w 50"/>
                    <a:gd name="T7" fmla="*/ 114 h 114"/>
                    <a:gd name="T8" fmla="*/ 6 w 50"/>
                    <a:gd name="T9" fmla="*/ 101 h 114"/>
                    <a:gd name="T10" fmla="*/ 50 w 50"/>
                    <a:gd name="T11" fmla="*/ 0 h 114"/>
                    <a:gd name="T12" fmla="*/ 48 w 50"/>
                    <a:gd name="T13" fmla="*/ 0 h 114"/>
                    <a:gd name="T14" fmla="*/ 4 w 50"/>
                    <a:gd name="T15" fmla="*/ 100 h 114"/>
                    <a:gd name="T16" fmla="*/ 6 w 50"/>
                    <a:gd name="T17" fmla="*/ 100 h 114"/>
                    <a:gd name="T18" fmla="*/ 21 w 50"/>
                    <a:gd name="T19" fmla="*/ 55 h 114"/>
                    <a:gd name="T20" fmla="*/ 41 w 50"/>
                    <a:gd name="T21" fmla="*/ 13 h 114"/>
                    <a:gd name="T22" fmla="*/ 48 w 50"/>
                    <a:gd name="T23" fmla="*/ 3 h 114"/>
                    <a:gd name="T24" fmla="*/ 50 w 50"/>
                    <a:gd name="T25" fmla="*/ 0 h 114"/>
                    <a:gd name="T26" fmla="*/ 50 w 50"/>
                    <a:gd name="T27" fmla="*/ 0 h 1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71" name="Freeform 132"/>
                <p:cNvSpPr>
                  <a:spLocks/>
                </p:cNvSpPr>
                <p:nvPr/>
              </p:nvSpPr>
              <p:spPr bwMode="auto">
                <a:xfrm>
                  <a:off x="-3760" y="2222"/>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72" name="Freeform 133"/>
                <p:cNvSpPr>
                  <a:spLocks noEditPoints="1"/>
                </p:cNvSpPr>
                <p:nvPr/>
              </p:nvSpPr>
              <p:spPr bwMode="auto">
                <a:xfrm>
                  <a:off x="-3655" y="1522"/>
                  <a:ext cx="329" cy="462"/>
                </a:xfrm>
                <a:custGeom>
                  <a:avLst/>
                  <a:gdLst>
                    <a:gd name="T0" fmla="*/ 41 w 139"/>
                    <a:gd name="T1" fmla="*/ 99 h 195"/>
                    <a:gd name="T2" fmla="*/ 38 w 139"/>
                    <a:gd name="T3" fmla="*/ 99 h 195"/>
                    <a:gd name="T4" fmla="*/ 1 w 139"/>
                    <a:gd name="T5" fmla="*/ 194 h 195"/>
                    <a:gd name="T6" fmla="*/ 0 w 139"/>
                    <a:gd name="T7" fmla="*/ 195 h 195"/>
                    <a:gd name="T8" fmla="*/ 3 w 139"/>
                    <a:gd name="T9" fmla="*/ 195 h 195"/>
                    <a:gd name="T10" fmla="*/ 41 w 139"/>
                    <a:gd name="T11" fmla="*/ 99 h 195"/>
                    <a:gd name="T12" fmla="*/ 63 w 139"/>
                    <a:gd name="T13" fmla="*/ 68 h 195"/>
                    <a:gd name="T14" fmla="*/ 60 w 139"/>
                    <a:gd name="T15" fmla="*/ 68 h 195"/>
                    <a:gd name="T16" fmla="*/ 39 w 139"/>
                    <a:gd name="T17" fmla="*/ 98 h 195"/>
                    <a:gd name="T18" fmla="*/ 41 w 139"/>
                    <a:gd name="T19" fmla="*/ 98 h 195"/>
                    <a:gd name="T20" fmla="*/ 63 w 139"/>
                    <a:gd name="T21" fmla="*/ 68 h 195"/>
                    <a:gd name="T22" fmla="*/ 138 w 139"/>
                    <a:gd name="T23" fmla="*/ 0 h 195"/>
                    <a:gd name="T24" fmla="*/ 138 w 139"/>
                    <a:gd name="T25" fmla="*/ 0 h 195"/>
                    <a:gd name="T26" fmla="*/ 61 w 139"/>
                    <a:gd name="T27" fmla="*/ 67 h 195"/>
                    <a:gd name="T28" fmla="*/ 63 w 139"/>
                    <a:gd name="T29" fmla="*/ 67 h 195"/>
                    <a:gd name="T30" fmla="*/ 63 w 139"/>
                    <a:gd name="T31" fmla="*/ 68 h 195"/>
                    <a:gd name="T32" fmla="*/ 81 w 139"/>
                    <a:gd name="T33" fmla="*/ 48 h 195"/>
                    <a:gd name="T34" fmla="*/ 121 w 139"/>
                    <a:gd name="T35" fmla="*/ 13 h 195"/>
                    <a:gd name="T36" fmla="*/ 134 w 139"/>
                    <a:gd name="T37" fmla="*/ 5 h 195"/>
                    <a:gd name="T38" fmla="*/ 137 w 139"/>
                    <a:gd name="T39" fmla="*/ 3 h 195"/>
                    <a:gd name="T40" fmla="*/ 139 w 139"/>
                    <a:gd name="T41" fmla="*/ 2 h 195"/>
                    <a:gd name="T42" fmla="*/ 138 w 139"/>
                    <a:gd name="T43" fmla="*/ 0 h 19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73" name="Freeform 134"/>
                <p:cNvSpPr>
                  <a:spLocks/>
                </p:cNvSpPr>
                <p:nvPr/>
              </p:nvSpPr>
              <p:spPr bwMode="auto">
                <a:xfrm>
                  <a:off x="-3566" y="1754"/>
                  <a:ext cx="8" cy="2"/>
                </a:xfrm>
                <a:custGeom>
                  <a:avLst/>
                  <a:gdLst>
                    <a:gd name="T0" fmla="*/ 3 w 3"/>
                    <a:gd name="T1" fmla="*/ 0 h 1"/>
                    <a:gd name="T2" fmla="*/ 1 w 3"/>
                    <a:gd name="T3" fmla="*/ 0 h 1"/>
                    <a:gd name="T4" fmla="*/ 0 w 3"/>
                    <a:gd name="T5" fmla="*/ 1 h 1"/>
                    <a:gd name="T6" fmla="*/ 3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74" name="Freeform 135"/>
                <p:cNvSpPr>
                  <a:spLocks/>
                </p:cNvSpPr>
                <p:nvPr/>
              </p:nvSpPr>
              <p:spPr bwMode="auto">
                <a:xfrm>
                  <a:off x="-3512" y="1682"/>
                  <a:ext cx="5" cy="3"/>
                </a:xfrm>
                <a:custGeom>
                  <a:avLst/>
                  <a:gdLst>
                    <a:gd name="T0" fmla="*/ 3 w 3"/>
                    <a:gd name="T1" fmla="*/ 0 h 1"/>
                    <a:gd name="T2" fmla="*/ 1 w 3"/>
                    <a:gd name="T3" fmla="*/ 0 h 1"/>
                    <a:gd name="T4" fmla="*/ 0 w 3"/>
                    <a:gd name="T5" fmla="*/ 1 h 1"/>
                    <a:gd name="T6" fmla="*/ 3 w 3"/>
                    <a:gd name="T7" fmla="*/ 1 h 1"/>
                    <a:gd name="T8" fmla="*/ 3 w 3"/>
                    <a:gd name="T9" fmla="*/ 1 h 1"/>
                    <a:gd name="T10" fmla="*/ 3 w 3"/>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75" name="Freeform 136"/>
                <p:cNvSpPr>
                  <a:spLocks noEditPoints="1"/>
                </p:cNvSpPr>
                <p:nvPr/>
              </p:nvSpPr>
              <p:spPr bwMode="auto">
                <a:xfrm>
                  <a:off x="-3801" y="2260"/>
                  <a:ext cx="36" cy="1016"/>
                </a:xfrm>
                <a:custGeom>
                  <a:avLst/>
                  <a:gdLst>
                    <a:gd name="T0" fmla="*/ 4 w 15"/>
                    <a:gd name="T1" fmla="*/ 343 h 429"/>
                    <a:gd name="T2" fmla="*/ 2 w 15"/>
                    <a:gd name="T3" fmla="*/ 343 h 429"/>
                    <a:gd name="T4" fmla="*/ 2 w 15"/>
                    <a:gd name="T5" fmla="*/ 355 h 429"/>
                    <a:gd name="T6" fmla="*/ 3 w 15"/>
                    <a:gd name="T7" fmla="*/ 429 h 429"/>
                    <a:gd name="T8" fmla="*/ 5 w 15"/>
                    <a:gd name="T9" fmla="*/ 429 h 429"/>
                    <a:gd name="T10" fmla="*/ 4 w 15"/>
                    <a:gd name="T11" fmla="*/ 355 h 429"/>
                    <a:gd name="T12" fmla="*/ 4 w 15"/>
                    <a:gd name="T13" fmla="*/ 343 h 429"/>
                    <a:gd name="T14" fmla="*/ 3 w 15"/>
                    <a:gd name="T15" fmla="*/ 255 h 429"/>
                    <a:gd name="T16" fmla="*/ 1 w 15"/>
                    <a:gd name="T17" fmla="*/ 255 h 429"/>
                    <a:gd name="T18" fmla="*/ 2 w 15"/>
                    <a:gd name="T19" fmla="*/ 327 h 429"/>
                    <a:gd name="T20" fmla="*/ 2 w 15"/>
                    <a:gd name="T21" fmla="*/ 342 h 429"/>
                    <a:gd name="T22" fmla="*/ 4 w 15"/>
                    <a:gd name="T23" fmla="*/ 342 h 429"/>
                    <a:gd name="T24" fmla="*/ 4 w 15"/>
                    <a:gd name="T25" fmla="*/ 335 h 429"/>
                    <a:gd name="T26" fmla="*/ 4 w 15"/>
                    <a:gd name="T27" fmla="*/ 327 h 429"/>
                    <a:gd name="T28" fmla="*/ 4 w 15"/>
                    <a:gd name="T29" fmla="*/ 327 h 429"/>
                    <a:gd name="T30" fmla="*/ 3 w 15"/>
                    <a:gd name="T31" fmla="*/ 255 h 429"/>
                    <a:gd name="T32" fmla="*/ 3 w 15"/>
                    <a:gd name="T33" fmla="*/ 233 h 429"/>
                    <a:gd name="T34" fmla="*/ 1 w 15"/>
                    <a:gd name="T35" fmla="*/ 233 h 429"/>
                    <a:gd name="T36" fmla="*/ 1 w 15"/>
                    <a:gd name="T37" fmla="*/ 254 h 429"/>
                    <a:gd name="T38" fmla="*/ 3 w 15"/>
                    <a:gd name="T39" fmla="*/ 254 h 429"/>
                    <a:gd name="T40" fmla="*/ 3 w 15"/>
                    <a:gd name="T41" fmla="*/ 233 h 429"/>
                    <a:gd name="T42" fmla="*/ 2 w 15"/>
                    <a:gd name="T43" fmla="*/ 102 h 429"/>
                    <a:gd name="T44" fmla="*/ 0 w 15"/>
                    <a:gd name="T45" fmla="*/ 102 h 429"/>
                    <a:gd name="T46" fmla="*/ 0 w 15"/>
                    <a:gd name="T47" fmla="*/ 156 h 429"/>
                    <a:gd name="T48" fmla="*/ 1 w 15"/>
                    <a:gd name="T49" fmla="*/ 232 h 429"/>
                    <a:gd name="T50" fmla="*/ 3 w 15"/>
                    <a:gd name="T51" fmla="*/ 232 h 429"/>
                    <a:gd name="T52" fmla="*/ 2 w 15"/>
                    <a:gd name="T53" fmla="*/ 108 h 429"/>
                    <a:gd name="T54" fmla="*/ 2 w 15"/>
                    <a:gd name="T55" fmla="*/ 102 h 429"/>
                    <a:gd name="T56" fmla="*/ 15 w 15"/>
                    <a:gd name="T57" fmla="*/ 0 h 429"/>
                    <a:gd name="T58" fmla="*/ 13 w 15"/>
                    <a:gd name="T59" fmla="*/ 0 h 429"/>
                    <a:gd name="T60" fmla="*/ 0 w 15"/>
                    <a:gd name="T61" fmla="*/ 93 h 429"/>
                    <a:gd name="T62" fmla="*/ 0 w 15"/>
                    <a:gd name="T63" fmla="*/ 101 h 429"/>
                    <a:gd name="T64" fmla="*/ 2 w 15"/>
                    <a:gd name="T65" fmla="*/ 101 h 429"/>
                    <a:gd name="T66" fmla="*/ 15 w 15"/>
                    <a:gd name="T67" fmla="*/ 0 h 42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76" name="Freeform 137"/>
                <p:cNvSpPr>
                  <a:spLocks/>
                </p:cNvSpPr>
                <p:nvPr/>
              </p:nvSpPr>
              <p:spPr bwMode="auto">
                <a:xfrm>
                  <a:off x="-3793" y="3070"/>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77" name="Freeform 138"/>
                <p:cNvSpPr>
                  <a:spLocks/>
                </p:cNvSpPr>
                <p:nvPr/>
              </p:nvSpPr>
              <p:spPr bwMode="auto">
                <a:xfrm>
                  <a:off x="-3798" y="2861"/>
                  <a:ext cx="5" cy="3"/>
                </a:xfrm>
                <a:custGeom>
                  <a:avLst/>
                  <a:gdLst>
                    <a:gd name="T0" fmla="*/ 4 w 4"/>
                    <a:gd name="T1" fmla="*/ 0 h 2"/>
                    <a:gd name="T2" fmla="*/ 0 w 4"/>
                    <a:gd name="T3" fmla="*/ 0 h 2"/>
                    <a:gd name="T4" fmla="*/ 0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78" name="Freeform 139"/>
                <p:cNvSpPr>
                  <a:spLocks/>
                </p:cNvSpPr>
                <p:nvPr/>
              </p:nvSpPr>
              <p:spPr bwMode="auto">
                <a:xfrm>
                  <a:off x="-3793" y="3278"/>
                  <a:ext cx="15" cy="246"/>
                </a:xfrm>
                <a:custGeom>
                  <a:avLst/>
                  <a:gdLst>
                    <a:gd name="T0" fmla="*/ 2 w 6"/>
                    <a:gd name="T1" fmla="*/ 0 h 103"/>
                    <a:gd name="T2" fmla="*/ 0 w 6"/>
                    <a:gd name="T3" fmla="*/ 0 h 103"/>
                    <a:gd name="T4" fmla="*/ 4 w 6"/>
                    <a:gd name="T5" fmla="*/ 103 h 103"/>
                    <a:gd name="T6" fmla="*/ 6 w 6"/>
                    <a:gd name="T7" fmla="*/ 102 h 103"/>
                    <a:gd name="T8" fmla="*/ 3 w 6"/>
                    <a:gd name="T9" fmla="*/ 31 h 103"/>
                    <a:gd name="T10" fmla="*/ 1 w 6"/>
                    <a:gd name="T11" fmla="*/ 31 h 103"/>
                    <a:gd name="T12" fmla="*/ 1 w 6"/>
                    <a:gd name="T13" fmla="*/ 31 h 103"/>
                    <a:gd name="T14" fmla="*/ 3 w 6"/>
                    <a:gd name="T15" fmla="*/ 31 h 103"/>
                    <a:gd name="T16" fmla="*/ 2 w 6"/>
                    <a:gd name="T17" fmla="*/ 0 h 1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79" name="Freeform 140"/>
                <p:cNvSpPr>
                  <a:spLocks/>
                </p:cNvSpPr>
                <p:nvPr/>
              </p:nvSpPr>
              <p:spPr bwMode="auto">
                <a:xfrm>
                  <a:off x="-3798" y="2810"/>
                  <a:ext cx="5" cy="3"/>
                </a:xfrm>
                <a:custGeom>
                  <a:avLst/>
                  <a:gdLst>
                    <a:gd name="T0" fmla="*/ 4 w 4"/>
                    <a:gd name="T1" fmla="*/ 0 h 2"/>
                    <a:gd name="T2" fmla="*/ 0 w 4"/>
                    <a:gd name="T3" fmla="*/ 0 h 2"/>
                    <a:gd name="T4" fmla="*/ 0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80" name="Freeform 141"/>
                <p:cNvSpPr>
                  <a:spLocks/>
                </p:cNvSpPr>
                <p:nvPr/>
              </p:nvSpPr>
              <p:spPr bwMode="auto">
                <a:xfrm>
                  <a:off x="-3793" y="3276"/>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81" name="Freeform 142"/>
                <p:cNvSpPr>
                  <a:spLocks/>
                </p:cNvSpPr>
                <p:nvPr/>
              </p:nvSpPr>
              <p:spPr bwMode="auto">
                <a:xfrm>
                  <a:off x="-3788" y="3352"/>
                  <a:ext cx="5" cy="0"/>
                </a:xfrm>
                <a:custGeom>
                  <a:avLst/>
                  <a:gdLst>
                    <a:gd name="T0" fmla="*/ 2 w 2"/>
                    <a:gd name="T1" fmla="*/ 0 w 2"/>
                    <a:gd name="T2" fmla="*/ 0 w 2"/>
                    <a:gd name="T3" fmla="*/ 2 w 2"/>
                    <a:gd name="T4" fmla="*/ 2 w 2"/>
                    <a:gd name="T5" fmla="*/ 0 60000 65536"/>
                    <a:gd name="T6" fmla="*/ 0 60000 65536"/>
                    <a:gd name="T7" fmla="*/ 0 60000 65536"/>
                    <a:gd name="T8" fmla="*/ 0 60000 65536"/>
                    <a:gd name="T9" fmla="*/ 0 60000 65536"/>
                  </a:gdLst>
                  <a:ahLst/>
                  <a:cxnLst>
                    <a:cxn ang="T5">
                      <a:pos x="T0" y="0"/>
                    </a:cxn>
                    <a:cxn ang="T6">
                      <a:pos x="T1" y="0"/>
                    </a:cxn>
                    <a:cxn ang="T7">
                      <a:pos x="T2" y="0"/>
                    </a:cxn>
                    <a:cxn ang="T8">
                      <a:pos x="T3" y="0"/>
                    </a:cxn>
                    <a:cxn ang="T9">
                      <a:pos x="T4"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82" name="Freeform 143"/>
                <p:cNvSpPr>
                  <a:spLocks/>
                </p:cNvSpPr>
                <p:nvPr/>
              </p:nvSpPr>
              <p:spPr bwMode="auto">
                <a:xfrm>
                  <a:off x="-3801" y="2498"/>
                  <a:ext cx="8"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83" name="Freeform 144"/>
                <p:cNvSpPr>
                  <a:spLocks/>
                </p:cNvSpPr>
                <p:nvPr/>
              </p:nvSpPr>
              <p:spPr bwMode="auto">
                <a:xfrm>
                  <a:off x="-3768" y="2256"/>
                  <a:ext cx="5" cy="3"/>
                </a:xfrm>
                <a:custGeom>
                  <a:avLst/>
                  <a:gdLst>
                    <a:gd name="T0" fmla="*/ 3 w 3"/>
                    <a:gd name="T1" fmla="*/ 0 h 1"/>
                    <a:gd name="T2" fmla="*/ 0 w 3"/>
                    <a:gd name="T3" fmla="*/ 0 h 1"/>
                    <a:gd name="T4" fmla="*/ 0 w 3"/>
                    <a:gd name="T5" fmla="*/ 1 h 1"/>
                    <a:gd name="T6" fmla="*/ 2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84" name="Freeform 145"/>
                <p:cNvSpPr>
                  <a:spLocks noEditPoints="1"/>
                </p:cNvSpPr>
                <p:nvPr/>
              </p:nvSpPr>
              <p:spPr bwMode="auto">
                <a:xfrm>
                  <a:off x="-3668" y="1987"/>
                  <a:ext cx="168" cy="1289"/>
                </a:xfrm>
                <a:custGeom>
                  <a:avLst/>
                  <a:gdLst>
                    <a:gd name="T0" fmla="*/ 14 w 71"/>
                    <a:gd name="T1" fmla="*/ 458 h 544"/>
                    <a:gd name="T2" fmla="*/ 12 w 71"/>
                    <a:gd name="T3" fmla="*/ 458 h 544"/>
                    <a:gd name="T4" fmla="*/ 0 w 71"/>
                    <a:gd name="T5" fmla="*/ 544 h 544"/>
                    <a:gd name="T6" fmla="*/ 2 w 71"/>
                    <a:gd name="T7" fmla="*/ 544 h 544"/>
                    <a:gd name="T8" fmla="*/ 14 w 71"/>
                    <a:gd name="T9" fmla="*/ 458 h 544"/>
                    <a:gd name="T10" fmla="*/ 28 w 71"/>
                    <a:gd name="T11" fmla="*/ 348 h 544"/>
                    <a:gd name="T12" fmla="*/ 26 w 71"/>
                    <a:gd name="T13" fmla="*/ 348 h 544"/>
                    <a:gd name="T14" fmla="*/ 13 w 71"/>
                    <a:gd name="T15" fmla="*/ 442 h 544"/>
                    <a:gd name="T16" fmla="*/ 13 w 71"/>
                    <a:gd name="T17" fmla="*/ 442 h 544"/>
                    <a:gd name="T18" fmla="*/ 13 w 71"/>
                    <a:gd name="T19" fmla="*/ 442 h 544"/>
                    <a:gd name="T20" fmla="*/ 13 w 71"/>
                    <a:gd name="T21" fmla="*/ 446 h 544"/>
                    <a:gd name="T22" fmla="*/ 12 w 71"/>
                    <a:gd name="T23" fmla="*/ 457 h 544"/>
                    <a:gd name="T24" fmla="*/ 14 w 71"/>
                    <a:gd name="T25" fmla="*/ 457 h 544"/>
                    <a:gd name="T26" fmla="*/ 15 w 71"/>
                    <a:gd name="T27" fmla="*/ 443 h 544"/>
                    <a:gd name="T28" fmla="*/ 27 w 71"/>
                    <a:gd name="T29" fmla="*/ 370 h 544"/>
                    <a:gd name="T30" fmla="*/ 27 w 71"/>
                    <a:gd name="T31" fmla="*/ 370 h 544"/>
                    <a:gd name="T32" fmla="*/ 27 w 71"/>
                    <a:gd name="T33" fmla="*/ 369 h 544"/>
                    <a:gd name="T34" fmla="*/ 27 w 71"/>
                    <a:gd name="T35" fmla="*/ 369 h 544"/>
                    <a:gd name="T36" fmla="*/ 28 w 71"/>
                    <a:gd name="T37" fmla="*/ 348 h 544"/>
                    <a:gd name="T38" fmla="*/ 29 w 71"/>
                    <a:gd name="T39" fmla="*/ 217 h 544"/>
                    <a:gd name="T40" fmla="*/ 27 w 71"/>
                    <a:gd name="T41" fmla="*/ 217 h 544"/>
                    <a:gd name="T42" fmla="*/ 27 w 71"/>
                    <a:gd name="T43" fmla="*/ 220 h 544"/>
                    <a:gd name="T44" fmla="*/ 27 w 71"/>
                    <a:gd name="T45" fmla="*/ 223 h 544"/>
                    <a:gd name="T46" fmla="*/ 28 w 71"/>
                    <a:gd name="T47" fmla="*/ 258 h 544"/>
                    <a:gd name="T48" fmla="*/ 26 w 71"/>
                    <a:gd name="T49" fmla="*/ 347 h 544"/>
                    <a:gd name="T50" fmla="*/ 28 w 71"/>
                    <a:gd name="T51" fmla="*/ 347 h 544"/>
                    <a:gd name="T52" fmla="*/ 30 w 71"/>
                    <a:gd name="T53" fmla="*/ 258 h 544"/>
                    <a:gd name="T54" fmla="*/ 29 w 71"/>
                    <a:gd name="T55" fmla="*/ 223 h 544"/>
                    <a:gd name="T56" fmla="*/ 29 w 71"/>
                    <a:gd name="T57" fmla="*/ 220 h 544"/>
                    <a:gd name="T58" fmla="*/ 29 w 71"/>
                    <a:gd name="T59" fmla="*/ 217 h 544"/>
                    <a:gd name="T60" fmla="*/ 39 w 71"/>
                    <a:gd name="T61" fmla="*/ 115 h 544"/>
                    <a:gd name="T62" fmla="*/ 37 w 71"/>
                    <a:gd name="T63" fmla="*/ 115 h 544"/>
                    <a:gd name="T64" fmla="*/ 27 w 71"/>
                    <a:gd name="T65" fmla="*/ 216 h 544"/>
                    <a:gd name="T66" fmla="*/ 29 w 71"/>
                    <a:gd name="T67" fmla="*/ 216 h 544"/>
                    <a:gd name="T68" fmla="*/ 39 w 71"/>
                    <a:gd name="T69" fmla="*/ 115 h 544"/>
                    <a:gd name="T70" fmla="*/ 71 w 71"/>
                    <a:gd name="T71" fmla="*/ 0 h 544"/>
                    <a:gd name="T72" fmla="*/ 69 w 71"/>
                    <a:gd name="T73" fmla="*/ 0 h 544"/>
                    <a:gd name="T74" fmla="*/ 69 w 71"/>
                    <a:gd name="T75" fmla="*/ 0 h 544"/>
                    <a:gd name="T76" fmla="*/ 37 w 71"/>
                    <a:gd name="T77" fmla="*/ 114 h 544"/>
                    <a:gd name="T78" fmla="*/ 39 w 71"/>
                    <a:gd name="T79" fmla="*/ 114 h 544"/>
                    <a:gd name="T80" fmla="*/ 50 w 71"/>
                    <a:gd name="T81" fmla="*/ 63 h 544"/>
                    <a:gd name="T82" fmla="*/ 64 w 71"/>
                    <a:gd name="T83" fmla="*/ 17 h 544"/>
                    <a:gd name="T84" fmla="*/ 69 w 71"/>
                    <a:gd name="T85" fmla="*/ 5 h 544"/>
                    <a:gd name="T86" fmla="*/ 71 w 71"/>
                    <a:gd name="T87" fmla="*/ 1 h 544"/>
                    <a:gd name="T88" fmla="*/ 71 w 71"/>
                    <a:gd name="T89" fmla="*/ 1 h 544"/>
                    <a:gd name="T90" fmla="*/ 71 w 71"/>
                    <a:gd name="T91" fmla="*/ 1 h 544"/>
                    <a:gd name="T92" fmla="*/ 71 w 71"/>
                    <a:gd name="T93" fmla="*/ 0 h 54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85" name="Freeform 146"/>
                <p:cNvSpPr>
                  <a:spLocks/>
                </p:cNvSpPr>
                <p:nvPr/>
              </p:nvSpPr>
              <p:spPr bwMode="auto">
                <a:xfrm>
                  <a:off x="-3640" y="3070"/>
                  <a:ext cx="8"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86" name="Freeform 147"/>
                <p:cNvSpPr>
                  <a:spLocks/>
                </p:cNvSpPr>
                <p:nvPr/>
              </p:nvSpPr>
              <p:spPr bwMode="auto">
                <a:xfrm>
                  <a:off x="-3607" y="2861"/>
                  <a:ext cx="3" cy="3"/>
                </a:xfrm>
                <a:custGeom>
                  <a:avLst/>
                  <a:gdLst>
                    <a:gd name="T0" fmla="*/ 0 w 3"/>
                    <a:gd name="T1" fmla="*/ 0 h 1"/>
                    <a:gd name="T2" fmla="*/ 0 w 3"/>
                    <a:gd name="T3" fmla="*/ 0 h 1"/>
                    <a:gd name="T4" fmla="*/ 0 w 3"/>
                    <a:gd name="T5" fmla="*/ 1 h 1"/>
                    <a:gd name="T6" fmla="*/ 0 w 3"/>
                    <a:gd name="T7" fmla="*/ 1 h 1"/>
                    <a:gd name="T8" fmla="*/ 0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87" name="Freeform 148"/>
                <p:cNvSpPr>
                  <a:spLocks noEditPoints="1"/>
                </p:cNvSpPr>
                <p:nvPr/>
              </p:nvSpPr>
              <p:spPr bwMode="auto">
                <a:xfrm>
                  <a:off x="-3714" y="1522"/>
                  <a:ext cx="435" cy="1912"/>
                </a:xfrm>
                <a:custGeom>
                  <a:avLst/>
                  <a:gdLst>
                    <a:gd name="T0" fmla="*/ 13 w 184"/>
                    <a:gd name="T1" fmla="*/ 772 h 807"/>
                    <a:gd name="T2" fmla="*/ 11 w 184"/>
                    <a:gd name="T3" fmla="*/ 772 h 807"/>
                    <a:gd name="T4" fmla="*/ 0 w 184"/>
                    <a:gd name="T5" fmla="*/ 807 h 807"/>
                    <a:gd name="T6" fmla="*/ 1 w 184"/>
                    <a:gd name="T7" fmla="*/ 807 h 807"/>
                    <a:gd name="T8" fmla="*/ 13 w 184"/>
                    <a:gd name="T9" fmla="*/ 772 h 807"/>
                    <a:gd name="T10" fmla="*/ 20 w 184"/>
                    <a:gd name="T11" fmla="*/ 741 h 807"/>
                    <a:gd name="T12" fmla="*/ 18 w 184"/>
                    <a:gd name="T13" fmla="*/ 741 h 807"/>
                    <a:gd name="T14" fmla="*/ 11 w 184"/>
                    <a:gd name="T15" fmla="*/ 772 h 807"/>
                    <a:gd name="T16" fmla="*/ 13 w 184"/>
                    <a:gd name="T17" fmla="*/ 772 h 807"/>
                    <a:gd name="T18" fmla="*/ 20 w 184"/>
                    <a:gd name="T19" fmla="*/ 741 h 807"/>
                    <a:gd name="T20" fmla="*/ 119 w 184"/>
                    <a:gd name="T21" fmla="*/ 99 h 807"/>
                    <a:gd name="T22" fmla="*/ 116 w 184"/>
                    <a:gd name="T23" fmla="*/ 99 h 807"/>
                    <a:gd name="T24" fmla="*/ 88 w 184"/>
                    <a:gd name="T25" fmla="*/ 195 h 807"/>
                    <a:gd name="T26" fmla="*/ 90 w 184"/>
                    <a:gd name="T27" fmla="*/ 195 h 807"/>
                    <a:gd name="T28" fmla="*/ 119 w 184"/>
                    <a:gd name="T29" fmla="*/ 99 h 807"/>
                    <a:gd name="T30" fmla="*/ 183 w 184"/>
                    <a:gd name="T31" fmla="*/ 0 h 807"/>
                    <a:gd name="T32" fmla="*/ 182 w 184"/>
                    <a:gd name="T33" fmla="*/ 0 h 807"/>
                    <a:gd name="T34" fmla="*/ 117 w 184"/>
                    <a:gd name="T35" fmla="*/ 98 h 807"/>
                    <a:gd name="T36" fmla="*/ 119 w 184"/>
                    <a:gd name="T37" fmla="*/ 98 h 807"/>
                    <a:gd name="T38" fmla="*/ 149 w 184"/>
                    <a:gd name="T39" fmla="*/ 41 h 807"/>
                    <a:gd name="T40" fmla="*/ 173 w 184"/>
                    <a:gd name="T41" fmla="*/ 10 h 807"/>
                    <a:gd name="T42" fmla="*/ 181 w 184"/>
                    <a:gd name="T43" fmla="*/ 4 h 807"/>
                    <a:gd name="T44" fmla="*/ 183 w 184"/>
                    <a:gd name="T45" fmla="*/ 2 h 807"/>
                    <a:gd name="T46" fmla="*/ 184 w 184"/>
                    <a:gd name="T47" fmla="*/ 2 h 807"/>
                    <a:gd name="T48" fmla="*/ 183 w 184"/>
                    <a:gd name="T49" fmla="*/ 0 h 80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88" name="Freeform 149"/>
                <p:cNvSpPr>
                  <a:spLocks/>
                </p:cNvSpPr>
                <p:nvPr/>
              </p:nvSpPr>
              <p:spPr bwMode="auto">
                <a:xfrm>
                  <a:off x="-3438" y="1754"/>
                  <a:ext cx="7" cy="2"/>
                </a:xfrm>
                <a:custGeom>
                  <a:avLst/>
                  <a:gdLst>
                    <a:gd name="T0" fmla="*/ 3 w 3"/>
                    <a:gd name="T1" fmla="*/ 0 h 1"/>
                    <a:gd name="T2" fmla="*/ 1 w 3"/>
                    <a:gd name="T3" fmla="*/ 0 h 1"/>
                    <a:gd name="T4" fmla="*/ 0 w 3"/>
                    <a:gd name="T5" fmla="*/ 1 h 1"/>
                    <a:gd name="T6" fmla="*/ 3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89" name="Freeform 150"/>
                <p:cNvSpPr>
                  <a:spLocks/>
                </p:cNvSpPr>
                <p:nvPr/>
              </p:nvSpPr>
              <p:spPr bwMode="auto">
                <a:xfrm>
                  <a:off x="-3607" y="2810"/>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90" name="Freeform 151"/>
                <p:cNvSpPr>
                  <a:spLocks/>
                </p:cNvSpPr>
                <p:nvPr/>
              </p:nvSpPr>
              <p:spPr bwMode="auto">
                <a:xfrm>
                  <a:off x="-3671" y="3276"/>
                  <a:ext cx="5" cy="2"/>
                </a:xfrm>
                <a:custGeom>
                  <a:avLst/>
                  <a:gdLst>
                    <a:gd name="T0" fmla="*/ 3 w 3"/>
                    <a:gd name="T1" fmla="*/ 0 h 1"/>
                    <a:gd name="T2" fmla="*/ 1 w 3"/>
                    <a:gd name="T3" fmla="*/ 0 h 1"/>
                    <a:gd name="T4" fmla="*/ 0 w 3"/>
                    <a:gd name="T5" fmla="*/ 1 h 1"/>
                    <a:gd name="T6" fmla="*/ 2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91" name="Freeform 152"/>
                <p:cNvSpPr>
                  <a:spLocks/>
                </p:cNvSpPr>
                <p:nvPr/>
              </p:nvSpPr>
              <p:spPr bwMode="auto">
                <a:xfrm>
                  <a:off x="-3689" y="3352"/>
                  <a:ext cx="5" cy="0"/>
                </a:xfrm>
                <a:custGeom>
                  <a:avLst/>
                  <a:gdLst>
                    <a:gd name="T0" fmla="*/ 2 w 2"/>
                    <a:gd name="T1" fmla="*/ 0 w 2"/>
                    <a:gd name="T2" fmla="*/ 0 w 2"/>
                    <a:gd name="T3" fmla="*/ 2 w 2"/>
                    <a:gd name="T4" fmla="*/ 2 w 2"/>
                    <a:gd name="T5" fmla="*/ 0 60000 65536"/>
                    <a:gd name="T6" fmla="*/ 0 60000 65536"/>
                    <a:gd name="T7" fmla="*/ 0 60000 65536"/>
                    <a:gd name="T8" fmla="*/ 0 60000 65536"/>
                    <a:gd name="T9" fmla="*/ 0 60000 65536"/>
                  </a:gdLst>
                  <a:ahLst/>
                  <a:cxnLst>
                    <a:cxn ang="T5">
                      <a:pos x="T0" y="0"/>
                    </a:cxn>
                    <a:cxn ang="T6">
                      <a:pos x="T1" y="0"/>
                    </a:cxn>
                    <a:cxn ang="T7">
                      <a:pos x="T2" y="0"/>
                    </a:cxn>
                    <a:cxn ang="T8">
                      <a:pos x="T3" y="0"/>
                    </a:cxn>
                    <a:cxn ang="T9">
                      <a:pos x="T4"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92" name="Freeform 153"/>
                <p:cNvSpPr>
                  <a:spLocks/>
                </p:cNvSpPr>
                <p:nvPr/>
              </p:nvSpPr>
              <p:spPr bwMode="auto">
                <a:xfrm>
                  <a:off x="-3607" y="2498"/>
                  <a:ext cx="8"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93" name="Freeform 154"/>
                <p:cNvSpPr>
                  <a:spLocks/>
                </p:cNvSpPr>
                <p:nvPr/>
              </p:nvSpPr>
              <p:spPr bwMode="auto">
                <a:xfrm>
                  <a:off x="-3581" y="2256"/>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94" name="Freeform 155"/>
                <p:cNvSpPr>
                  <a:spLocks noEditPoints="1"/>
                </p:cNvSpPr>
                <p:nvPr/>
              </p:nvSpPr>
              <p:spPr bwMode="auto">
                <a:xfrm>
                  <a:off x="-3395" y="1987"/>
                  <a:ext cx="44" cy="270"/>
                </a:xfrm>
                <a:custGeom>
                  <a:avLst/>
                  <a:gdLst>
                    <a:gd name="T0" fmla="*/ 3 w 19"/>
                    <a:gd name="T1" fmla="*/ 101 h 114"/>
                    <a:gd name="T2" fmla="*/ 1 w 19"/>
                    <a:gd name="T3" fmla="*/ 101 h 114"/>
                    <a:gd name="T4" fmla="*/ 0 w 19"/>
                    <a:gd name="T5" fmla="*/ 114 h 114"/>
                    <a:gd name="T6" fmla="*/ 2 w 19"/>
                    <a:gd name="T7" fmla="*/ 114 h 114"/>
                    <a:gd name="T8" fmla="*/ 3 w 19"/>
                    <a:gd name="T9" fmla="*/ 101 h 114"/>
                    <a:gd name="T10" fmla="*/ 19 w 19"/>
                    <a:gd name="T11" fmla="*/ 0 h 114"/>
                    <a:gd name="T12" fmla="*/ 17 w 19"/>
                    <a:gd name="T13" fmla="*/ 0 h 114"/>
                    <a:gd name="T14" fmla="*/ 17 w 19"/>
                    <a:gd name="T15" fmla="*/ 2 h 114"/>
                    <a:gd name="T16" fmla="*/ 17 w 19"/>
                    <a:gd name="T17" fmla="*/ 2 h 114"/>
                    <a:gd name="T18" fmla="*/ 16 w 19"/>
                    <a:gd name="T19" fmla="*/ 10 h 114"/>
                    <a:gd name="T20" fmla="*/ 13 w 19"/>
                    <a:gd name="T21" fmla="*/ 25 h 114"/>
                    <a:gd name="T22" fmla="*/ 1 w 19"/>
                    <a:gd name="T23" fmla="*/ 100 h 114"/>
                    <a:gd name="T24" fmla="*/ 3 w 19"/>
                    <a:gd name="T25" fmla="*/ 100 h 114"/>
                    <a:gd name="T26" fmla="*/ 15 w 19"/>
                    <a:gd name="T27" fmla="*/ 25 h 114"/>
                    <a:gd name="T28" fmla="*/ 19 w 19"/>
                    <a:gd name="T29" fmla="*/ 2 h 114"/>
                    <a:gd name="T30" fmla="*/ 19 w 19"/>
                    <a:gd name="T31" fmla="*/ 2 h 114"/>
                    <a:gd name="T32" fmla="*/ 19 w 19"/>
                    <a:gd name="T33" fmla="*/ 2 h 114"/>
                    <a:gd name="T34" fmla="*/ 19 w 19"/>
                    <a:gd name="T35" fmla="*/ 0 h 11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95" name="Freeform 156"/>
                <p:cNvSpPr>
                  <a:spLocks/>
                </p:cNvSpPr>
                <p:nvPr/>
              </p:nvSpPr>
              <p:spPr bwMode="auto">
                <a:xfrm>
                  <a:off x="-3392" y="2222"/>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96" name="Freeform 157"/>
                <p:cNvSpPr>
                  <a:spLocks noEditPoints="1"/>
                </p:cNvSpPr>
                <p:nvPr/>
              </p:nvSpPr>
              <p:spPr bwMode="auto">
                <a:xfrm>
                  <a:off x="-3354" y="1522"/>
                  <a:ext cx="117" cy="462"/>
                </a:xfrm>
                <a:custGeom>
                  <a:avLst/>
                  <a:gdLst>
                    <a:gd name="T0" fmla="*/ 12 w 50"/>
                    <a:gd name="T1" fmla="*/ 99 h 195"/>
                    <a:gd name="T2" fmla="*/ 9 w 50"/>
                    <a:gd name="T3" fmla="*/ 99 h 195"/>
                    <a:gd name="T4" fmla="*/ 0 w 50"/>
                    <a:gd name="T5" fmla="*/ 195 h 195"/>
                    <a:gd name="T6" fmla="*/ 2 w 50"/>
                    <a:gd name="T7" fmla="*/ 195 h 195"/>
                    <a:gd name="T8" fmla="*/ 12 w 50"/>
                    <a:gd name="T9" fmla="*/ 99 h 195"/>
                    <a:gd name="T10" fmla="*/ 19 w 50"/>
                    <a:gd name="T11" fmla="*/ 68 h 195"/>
                    <a:gd name="T12" fmla="*/ 17 w 50"/>
                    <a:gd name="T13" fmla="*/ 68 h 195"/>
                    <a:gd name="T14" fmla="*/ 10 w 50"/>
                    <a:gd name="T15" fmla="*/ 98 h 195"/>
                    <a:gd name="T16" fmla="*/ 12 w 50"/>
                    <a:gd name="T17" fmla="*/ 98 h 195"/>
                    <a:gd name="T18" fmla="*/ 19 w 50"/>
                    <a:gd name="T19" fmla="*/ 68 h 195"/>
                    <a:gd name="T20" fmla="*/ 48 w 50"/>
                    <a:gd name="T21" fmla="*/ 0 h 195"/>
                    <a:gd name="T22" fmla="*/ 48 w 50"/>
                    <a:gd name="T23" fmla="*/ 0 h 195"/>
                    <a:gd name="T24" fmla="*/ 17 w 50"/>
                    <a:gd name="T25" fmla="*/ 67 h 195"/>
                    <a:gd name="T26" fmla="*/ 19 w 50"/>
                    <a:gd name="T27" fmla="*/ 67 h 195"/>
                    <a:gd name="T28" fmla="*/ 26 w 50"/>
                    <a:gd name="T29" fmla="*/ 47 h 195"/>
                    <a:gd name="T30" fmla="*/ 42 w 50"/>
                    <a:gd name="T31" fmla="*/ 12 h 195"/>
                    <a:gd name="T32" fmla="*/ 48 w 50"/>
                    <a:gd name="T33" fmla="*/ 4 h 195"/>
                    <a:gd name="T34" fmla="*/ 49 w 50"/>
                    <a:gd name="T35" fmla="*/ 2 h 195"/>
                    <a:gd name="T36" fmla="*/ 50 w 50"/>
                    <a:gd name="T37" fmla="*/ 2 h 195"/>
                    <a:gd name="T38" fmla="*/ 48 w 50"/>
                    <a:gd name="T39" fmla="*/ 0 h 19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97" name="Freeform 158"/>
                <p:cNvSpPr>
                  <a:spLocks/>
                </p:cNvSpPr>
                <p:nvPr/>
              </p:nvSpPr>
              <p:spPr bwMode="auto">
                <a:xfrm>
                  <a:off x="-3334" y="1754"/>
                  <a:ext cx="8" cy="2"/>
                </a:xfrm>
                <a:custGeom>
                  <a:avLst/>
                  <a:gdLst>
                    <a:gd name="T0" fmla="*/ 3 w 3"/>
                    <a:gd name="T1" fmla="*/ 0 h 1"/>
                    <a:gd name="T2" fmla="*/ 1 w 3"/>
                    <a:gd name="T3" fmla="*/ 0 h 1"/>
                    <a:gd name="T4" fmla="*/ 0 w 3"/>
                    <a:gd name="T5" fmla="*/ 1 h 1"/>
                    <a:gd name="T6" fmla="*/ 3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98" name="Freeform 159"/>
                <p:cNvSpPr>
                  <a:spLocks/>
                </p:cNvSpPr>
                <p:nvPr/>
              </p:nvSpPr>
              <p:spPr bwMode="auto">
                <a:xfrm>
                  <a:off x="-3313" y="1682"/>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99" name="Freeform 160"/>
                <p:cNvSpPr>
                  <a:spLocks noEditPoints="1"/>
                </p:cNvSpPr>
                <p:nvPr/>
              </p:nvSpPr>
              <p:spPr bwMode="auto">
                <a:xfrm>
                  <a:off x="-3556" y="2260"/>
                  <a:ext cx="166" cy="1016"/>
                </a:xfrm>
                <a:custGeom>
                  <a:avLst/>
                  <a:gdLst>
                    <a:gd name="T0" fmla="*/ 28 w 70"/>
                    <a:gd name="T1" fmla="*/ 343 h 429"/>
                    <a:gd name="T2" fmla="*/ 26 w 70"/>
                    <a:gd name="T3" fmla="*/ 343 h 429"/>
                    <a:gd name="T4" fmla="*/ 0 w 70"/>
                    <a:gd name="T5" fmla="*/ 429 h 429"/>
                    <a:gd name="T6" fmla="*/ 2 w 70"/>
                    <a:gd name="T7" fmla="*/ 429 h 429"/>
                    <a:gd name="T8" fmla="*/ 28 w 70"/>
                    <a:gd name="T9" fmla="*/ 343 h 429"/>
                    <a:gd name="T10" fmla="*/ 54 w 70"/>
                    <a:gd name="T11" fmla="*/ 255 h 429"/>
                    <a:gd name="T12" fmla="*/ 52 w 70"/>
                    <a:gd name="T13" fmla="*/ 255 h 429"/>
                    <a:gd name="T14" fmla="*/ 48 w 70"/>
                    <a:gd name="T15" fmla="*/ 267 h 429"/>
                    <a:gd name="T16" fmla="*/ 35 w 70"/>
                    <a:gd name="T17" fmla="*/ 312 h 429"/>
                    <a:gd name="T18" fmla="*/ 30 w 70"/>
                    <a:gd name="T19" fmla="*/ 324 h 429"/>
                    <a:gd name="T20" fmla="*/ 29 w 70"/>
                    <a:gd name="T21" fmla="*/ 329 h 429"/>
                    <a:gd name="T22" fmla="*/ 29 w 70"/>
                    <a:gd name="T23" fmla="*/ 329 h 429"/>
                    <a:gd name="T24" fmla="*/ 29 w 70"/>
                    <a:gd name="T25" fmla="*/ 329 h 429"/>
                    <a:gd name="T26" fmla="*/ 26 w 70"/>
                    <a:gd name="T27" fmla="*/ 342 h 429"/>
                    <a:gd name="T28" fmla="*/ 28 w 70"/>
                    <a:gd name="T29" fmla="*/ 342 h 429"/>
                    <a:gd name="T30" fmla="*/ 31 w 70"/>
                    <a:gd name="T31" fmla="*/ 329 h 429"/>
                    <a:gd name="T32" fmla="*/ 31 w 70"/>
                    <a:gd name="T33" fmla="*/ 329 h 429"/>
                    <a:gd name="T34" fmla="*/ 54 w 70"/>
                    <a:gd name="T35" fmla="*/ 255 h 429"/>
                    <a:gd name="T36" fmla="*/ 59 w 70"/>
                    <a:gd name="T37" fmla="*/ 233 h 429"/>
                    <a:gd name="T38" fmla="*/ 57 w 70"/>
                    <a:gd name="T39" fmla="*/ 233 h 429"/>
                    <a:gd name="T40" fmla="*/ 52 w 70"/>
                    <a:gd name="T41" fmla="*/ 254 h 429"/>
                    <a:gd name="T42" fmla="*/ 54 w 70"/>
                    <a:gd name="T43" fmla="*/ 254 h 429"/>
                    <a:gd name="T44" fmla="*/ 59 w 70"/>
                    <a:gd name="T45" fmla="*/ 233 h 429"/>
                    <a:gd name="T46" fmla="*/ 68 w 70"/>
                    <a:gd name="T47" fmla="*/ 102 h 429"/>
                    <a:gd name="T48" fmla="*/ 66 w 70"/>
                    <a:gd name="T49" fmla="*/ 102 h 429"/>
                    <a:gd name="T50" fmla="*/ 67 w 70"/>
                    <a:gd name="T51" fmla="*/ 110 h 429"/>
                    <a:gd name="T52" fmla="*/ 68 w 70"/>
                    <a:gd name="T53" fmla="*/ 136 h 429"/>
                    <a:gd name="T54" fmla="*/ 57 w 70"/>
                    <a:gd name="T55" fmla="*/ 232 h 429"/>
                    <a:gd name="T56" fmla="*/ 59 w 70"/>
                    <a:gd name="T57" fmla="*/ 232 h 429"/>
                    <a:gd name="T58" fmla="*/ 70 w 70"/>
                    <a:gd name="T59" fmla="*/ 136 h 429"/>
                    <a:gd name="T60" fmla="*/ 69 w 70"/>
                    <a:gd name="T61" fmla="*/ 110 h 429"/>
                    <a:gd name="T62" fmla="*/ 68 w 70"/>
                    <a:gd name="T63" fmla="*/ 102 h 429"/>
                    <a:gd name="T64" fmla="*/ 70 w 70"/>
                    <a:gd name="T65" fmla="*/ 0 h 429"/>
                    <a:gd name="T66" fmla="*/ 68 w 70"/>
                    <a:gd name="T67" fmla="*/ 0 h 429"/>
                    <a:gd name="T68" fmla="*/ 65 w 70"/>
                    <a:gd name="T69" fmla="*/ 58 h 429"/>
                    <a:gd name="T70" fmla="*/ 66 w 70"/>
                    <a:gd name="T71" fmla="*/ 101 h 429"/>
                    <a:gd name="T72" fmla="*/ 68 w 70"/>
                    <a:gd name="T73" fmla="*/ 101 h 429"/>
                    <a:gd name="T74" fmla="*/ 67 w 70"/>
                    <a:gd name="T75" fmla="*/ 58 h 429"/>
                    <a:gd name="T76" fmla="*/ 70 w 70"/>
                    <a:gd name="T77" fmla="*/ 0 h 42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00" name="Freeform 161"/>
                <p:cNvSpPr>
                  <a:spLocks/>
                </p:cNvSpPr>
                <p:nvPr/>
              </p:nvSpPr>
              <p:spPr bwMode="auto">
                <a:xfrm>
                  <a:off x="-3495" y="3070"/>
                  <a:ext cx="8"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01" name="Freeform 162"/>
                <p:cNvSpPr>
                  <a:spLocks/>
                </p:cNvSpPr>
                <p:nvPr/>
              </p:nvSpPr>
              <p:spPr bwMode="auto">
                <a:xfrm>
                  <a:off x="-3433" y="2861"/>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02" name="Freeform 163"/>
                <p:cNvSpPr>
                  <a:spLocks noEditPoints="1"/>
                </p:cNvSpPr>
                <p:nvPr/>
              </p:nvSpPr>
              <p:spPr bwMode="auto">
                <a:xfrm>
                  <a:off x="-3630" y="3278"/>
                  <a:ext cx="77" cy="156"/>
                </a:xfrm>
                <a:custGeom>
                  <a:avLst/>
                  <a:gdLst>
                    <a:gd name="T0" fmla="*/ 19 w 32"/>
                    <a:gd name="T1" fmla="*/ 31 h 65"/>
                    <a:gd name="T2" fmla="*/ 17 w 32"/>
                    <a:gd name="T3" fmla="*/ 31 h 65"/>
                    <a:gd name="T4" fmla="*/ 7 w 32"/>
                    <a:gd name="T5" fmla="*/ 52 h 65"/>
                    <a:gd name="T6" fmla="*/ 2 w 32"/>
                    <a:gd name="T7" fmla="*/ 61 h 65"/>
                    <a:gd name="T8" fmla="*/ 0 w 32"/>
                    <a:gd name="T9" fmla="*/ 64 h 65"/>
                    <a:gd name="T10" fmla="*/ 2 w 32"/>
                    <a:gd name="T11" fmla="*/ 65 h 65"/>
                    <a:gd name="T12" fmla="*/ 19 w 32"/>
                    <a:gd name="T13" fmla="*/ 31 h 65"/>
                    <a:gd name="T14" fmla="*/ 32 w 32"/>
                    <a:gd name="T15" fmla="*/ 0 h 65"/>
                    <a:gd name="T16" fmla="*/ 30 w 32"/>
                    <a:gd name="T17" fmla="*/ 0 h 65"/>
                    <a:gd name="T18" fmla="*/ 23 w 32"/>
                    <a:gd name="T19" fmla="*/ 18 h 65"/>
                    <a:gd name="T20" fmla="*/ 17 w 32"/>
                    <a:gd name="T21" fmla="*/ 31 h 65"/>
                    <a:gd name="T22" fmla="*/ 19 w 32"/>
                    <a:gd name="T23" fmla="*/ 31 h 65"/>
                    <a:gd name="T24" fmla="*/ 32 w 32"/>
                    <a:gd name="T25" fmla="*/ 0 h 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03" name="Freeform 164"/>
                <p:cNvSpPr>
                  <a:spLocks/>
                </p:cNvSpPr>
                <p:nvPr/>
              </p:nvSpPr>
              <p:spPr bwMode="auto">
                <a:xfrm>
                  <a:off x="-3421" y="2810"/>
                  <a:ext cx="8"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04" name="Freeform 165"/>
                <p:cNvSpPr>
                  <a:spLocks/>
                </p:cNvSpPr>
                <p:nvPr/>
              </p:nvSpPr>
              <p:spPr bwMode="auto">
                <a:xfrm>
                  <a:off x="-3558" y="3276"/>
                  <a:ext cx="8" cy="2"/>
                </a:xfrm>
                <a:custGeom>
                  <a:avLst/>
                  <a:gdLst>
                    <a:gd name="T0" fmla="*/ 3 w 3"/>
                    <a:gd name="T1" fmla="*/ 0 h 1"/>
                    <a:gd name="T2" fmla="*/ 1 w 3"/>
                    <a:gd name="T3" fmla="*/ 0 h 1"/>
                    <a:gd name="T4" fmla="*/ 0 w 3"/>
                    <a:gd name="T5" fmla="*/ 1 h 1"/>
                    <a:gd name="T6" fmla="*/ 2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05" name="Freeform 166"/>
                <p:cNvSpPr>
                  <a:spLocks/>
                </p:cNvSpPr>
                <p:nvPr/>
              </p:nvSpPr>
              <p:spPr bwMode="auto">
                <a:xfrm>
                  <a:off x="-3589" y="3352"/>
                  <a:ext cx="5" cy="0"/>
                </a:xfrm>
                <a:custGeom>
                  <a:avLst/>
                  <a:gdLst>
                    <a:gd name="T0" fmla="*/ 2 w 2"/>
                    <a:gd name="T1" fmla="*/ 0 w 2"/>
                    <a:gd name="T2" fmla="*/ 0 w 2"/>
                    <a:gd name="T3" fmla="*/ 2 w 2"/>
                    <a:gd name="T4" fmla="*/ 2 w 2"/>
                    <a:gd name="T5" fmla="*/ 0 60000 65536"/>
                    <a:gd name="T6" fmla="*/ 0 60000 65536"/>
                    <a:gd name="T7" fmla="*/ 0 60000 65536"/>
                    <a:gd name="T8" fmla="*/ 0 60000 65536"/>
                    <a:gd name="T9" fmla="*/ 0 60000 65536"/>
                  </a:gdLst>
                  <a:ahLst/>
                  <a:cxnLst>
                    <a:cxn ang="T5">
                      <a:pos x="T0" y="0"/>
                    </a:cxn>
                    <a:cxn ang="T6">
                      <a:pos x="T1" y="0"/>
                    </a:cxn>
                    <a:cxn ang="T7">
                      <a:pos x="T2" y="0"/>
                    </a:cxn>
                    <a:cxn ang="T8">
                      <a:pos x="T3" y="0"/>
                    </a:cxn>
                    <a:cxn ang="T9">
                      <a:pos x="T4"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06" name="Freeform 167"/>
                <p:cNvSpPr>
                  <a:spLocks/>
                </p:cNvSpPr>
                <p:nvPr/>
              </p:nvSpPr>
              <p:spPr bwMode="auto">
                <a:xfrm>
                  <a:off x="-3400" y="2498"/>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07" name="Freeform 168"/>
                <p:cNvSpPr>
                  <a:spLocks/>
                </p:cNvSpPr>
                <p:nvPr/>
              </p:nvSpPr>
              <p:spPr bwMode="auto">
                <a:xfrm>
                  <a:off x="-3395" y="2256"/>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08" name="Freeform 169"/>
                <p:cNvSpPr>
                  <a:spLocks/>
                </p:cNvSpPr>
                <p:nvPr/>
              </p:nvSpPr>
              <p:spPr bwMode="auto">
                <a:xfrm>
                  <a:off x="-3198" y="1987"/>
                  <a:ext cx="2" cy="270"/>
                </a:xfrm>
                <a:custGeom>
                  <a:avLst/>
                  <a:gdLst>
                    <a:gd name="T0" fmla="*/ 3 w 3"/>
                    <a:gd name="T1" fmla="*/ 0 h 270"/>
                    <a:gd name="T2" fmla="*/ 0 w 3"/>
                    <a:gd name="T3" fmla="*/ 0 h 270"/>
                    <a:gd name="T4" fmla="*/ 0 w 3"/>
                    <a:gd name="T5" fmla="*/ 270 h 270"/>
                    <a:gd name="T6" fmla="*/ 3 w 3"/>
                    <a:gd name="T7" fmla="*/ 270 h 270"/>
                    <a:gd name="T8" fmla="*/ 3 w 3"/>
                    <a:gd name="T9" fmla="*/ 240 h 270"/>
                    <a:gd name="T10" fmla="*/ 0 w 3"/>
                    <a:gd name="T11" fmla="*/ 240 h 270"/>
                    <a:gd name="T12" fmla="*/ 0 w 3"/>
                    <a:gd name="T13" fmla="*/ 237 h 270"/>
                    <a:gd name="T14" fmla="*/ 3 w 3"/>
                    <a:gd name="T15" fmla="*/ 237 h 270"/>
                    <a:gd name="T16" fmla="*/ 3 w 3"/>
                    <a:gd name="T17" fmla="*/ 0 h 270"/>
                    <a:gd name="T18" fmla="*/ 3 w 3"/>
                    <a:gd name="T19" fmla="*/ 0 h 27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 h="270">
                      <a:moveTo>
                        <a:pt x="3" y="0"/>
                      </a:moveTo>
                      <a:lnTo>
                        <a:pt x="0" y="0"/>
                      </a:lnTo>
                      <a:lnTo>
                        <a:pt x="0" y="270"/>
                      </a:lnTo>
                      <a:lnTo>
                        <a:pt x="3" y="270"/>
                      </a:lnTo>
                      <a:lnTo>
                        <a:pt x="3" y="240"/>
                      </a:lnTo>
                      <a:lnTo>
                        <a:pt x="0" y="240"/>
                      </a:lnTo>
                      <a:lnTo>
                        <a:pt x="0" y="237"/>
                      </a:lnTo>
                      <a:lnTo>
                        <a:pt x="3" y="237"/>
                      </a:ln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09" name="Freeform 170"/>
                <p:cNvSpPr>
                  <a:spLocks/>
                </p:cNvSpPr>
                <p:nvPr/>
              </p:nvSpPr>
              <p:spPr bwMode="auto">
                <a:xfrm>
                  <a:off x="-3198" y="2222"/>
                  <a:ext cx="2" cy="3"/>
                </a:xfrm>
                <a:custGeom>
                  <a:avLst/>
                  <a:gdLst>
                    <a:gd name="T0" fmla="*/ 3 w 3"/>
                    <a:gd name="T1" fmla="*/ 0 h 3"/>
                    <a:gd name="T2" fmla="*/ 0 w 3"/>
                    <a:gd name="T3" fmla="*/ 0 h 3"/>
                    <a:gd name="T4" fmla="*/ 0 w 3"/>
                    <a:gd name="T5" fmla="*/ 3 h 3"/>
                    <a:gd name="T6" fmla="*/ 3 w 3"/>
                    <a:gd name="T7" fmla="*/ 3 h 3"/>
                    <a:gd name="T8" fmla="*/ 3 w 3"/>
                    <a:gd name="T9" fmla="*/ 0 h 3"/>
                    <a:gd name="T10" fmla="*/ 3 w 3"/>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3">
                      <a:moveTo>
                        <a:pt x="3" y="0"/>
                      </a:moveTo>
                      <a:lnTo>
                        <a:pt x="0" y="0"/>
                      </a:lnTo>
                      <a:lnTo>
                        <a:pt x="0" y="3"/>
                      </a:lnTo>
                      <a:lnTo>
                        <a:pt x="3" y="3"/>
                      </a:ln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10" name="Freeform 171"/>
                <p:cNvSpPr>
                  <a:spLocks noEditPoints="1"/>
                </p:cNvSpPr>
                <p:nvPr/>
              </p:nvSpPr>
              <p:spPr bwMode="auto">
                <a:xfrm>
                  <a:off x="-3203" y="1524"/>
                  <a:ext cx="8" cy="998"/>
                </a:xfrm>
                <a:custGeom>
                  <a:avLst/>
                  <a:gdLst>
                    <a:gd name="T0" fmla="*/ 7 w 7"/>
                    <a:gd name="T1" fmla="*/ 977 h 998"/>
                    <a:gd name="T2" fmla="*/ 5 w 7"/>
                    <a:gd name="T3" fmla="*/ 977 h 998"/>
                    <a:gd name="T4" fmla="*/ 5 w 7"/>
                    <a:gd name="T5" fmla="*/ 998 h 998"/>
                    <a:gd name="T6" fmla="*/ 7 w 7"/>
                    <a:gd name="T7" fmla="*/ 998 h 998"/>
                    <a:gd name="T8" fmla="*/ 7 w 7"/>
                    <a:gd name="T9" fmla="*/ 977 h 998"/>
                    <a:gd name="T10" fmla="*/ 7 w 7"/>
                    <a:gd name="T11" fmla="*/ 977 h 998"/>
                    <a:gd name="T12" fmla="*/ 5 w 7"/>
                    <a:gd name="T13" fmla="*/ 735 h 998"/>
                    <a:gd name="T14" fmla="*/ 2 w 7"/>
                    <a:gd name="T15" fmla="*/ 735 h 998"/>
                    <a:gd name="T16" fmla="*/ 5 w 7"/>
                    <a:gd name="T17" fmla="*/ 974 h 998"/>
                    <a:gd name="T18" fmla="*/ 7 w 7"/>
                    <a:gd name="T19" fmla="*/ 974 h 998"/>
                    <a:gd name="T20" fmla="*/ 5 w 7"/>
                    <a:gd name="T21" fmla="*/ 735 h 998"/>
                    <a:gd name="T22" fmla="*/ 5 w 7"/>
                    <a:gd name="T23" fmla="*/ 735 h 998"/>
                    <a:gd name="T24" fmla="*/ 2 w 7"/>
                    <a:gd name="T25" fmla="*/ 232 h 998"/>
                    <a:gd name="T26" fmla="*/ 0 w 7"/>
                    <a:gd name="T27" fmla="*/ 232 h 998"/>
                    <a:gd name="T28" fmla="*/ 2 w 7"/>
                    <a:gd name="T29" fmla="*/ 460 h 998"/>
                    <a:gd name="T30" fmla="*/ 2 w 7"/>
                    <a:gd name="T31" fmla="*/ 460 h 998"/>
                    <a:gd name="T32" fmla="*/ 2 w 7"/>
                    <a:gd name="T33" fmla="*/ 232 h 998"/>
                    <a:gd name="T34" fmla="*/ 2 w 7"/>
                    <a:gd name="T35" fmla="*/ 232 h 998"/>
                    <a:gd name="T36" fmla="*/ 2 w 7"/>
                    <a:gd name="T37" fmla="*/ 0 h 998"/>
                    <a:gd name="T38" fmla="*/ 0 w 7"/>
                    <a:gd name="T39" fmla="*/ 0 h 998"/>
                    <a:gd name="T40" fmla="*/ 0 w 7"/>
                    <a:gd name="T41" fmla="*/ 230 h 998"/>
                    <a:gd name="T42" fmla="*/ 2 w 7"/>
                    <a:gd name="T43" fmla="*/ 230 h 998"/>
                    <a:gd name="T44" fmla="*/ 2 w 7"/>
                    <a:gd name="T45" fmla="*/ 0 h 998"/>
                    <a:gd name="T46" fmla="*/ 2 w 7"/>
                    <a:gd name="T47" fmla="*/ 0 h 99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 h="998">
                      <a:moveTo>
                        <a:pt x="7" y="977"/>
                      </a:moveTo>
                      <a:lnTo>
                        <a:pt x="5" y="977"/>
                      </a:lnTo>
                      <a:lnTo>
                        <a:pt x="5" y="998"/>
                      </a:lnTo>
                      <a:lnTo>
                        <a:pt x="7" y="998"/>
                      </a:lnTo>
                      <a:lnTo>
                        <a:pt x="7" y="977"/>
                      </a:lnTo>
                      <a:close/>
                      <a:moveTo>
                        <a:pt x="5" y="735"/>
                      </a:moveTo>
                      <a:lnTo>
                        <a:pt x="2" y="735"/>
                      </a:lnTo>
                      <a:lnTo>
                        <a:pt x="5" y="974"/>
                      </a:lnTo>
                      <a:lnTo>
                        <a:pt x="7" y="974"/>
                      </a:lnTo>
                      <a:lnTo>
                        <a:pt x="5" y="735"/>
                      </a:lnTo>
                      <a:close/>
                      <a:moveTo>
                        <a:pt x="2" y="232"/>
                      </a:moveTo>
                      <a:lnTo>
                        <a:pt x="0" y="232"/>
                      </a:lnTo>
                      <a:lnTo>
                        <a:pt x="2" y="460"/>
                      </a:lnTo>
                      <a:lnTo>
                        <a:pt x="2" y="232"/>
                      </a:lnTo>
                      <a:close/>
                      <a:moveTo>
                        <a:pt x="2" y="0"/>
                      </a:moveTo>
                      <a:lnTo>
                        <a:pt x="0" y="0"/>
                      </a:lnTo>
                      <a:lnTo>
                        <a:pt x="0" y="230"/>
                      </a:lnTo>
                      <a:lnTo>
                        <a:pt x="2" y="230"/>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11" name="Freeform 172"/>
                <p:cNvSpPr>
                  <a:spLocks/>
                </p:cNvSpPr>
                <p:nvPr/>
              </p:nvSpPr>
              <p:spPr bwMode="auto">
                <a:xfrm>
                  <a:off x="-3203" y="1754"/>
                  <a:ext cx="3" cy="2"/>
                </a:xfrm>
                <a:custGeom>
                  <a:avLst/>
                  <a:gdLst>
                    <a:gd name="T0" fmla="*/ 2 w 2"/>
                    <a:gd name="T1" fmla="*/ 0 h 2"/>
                    <a:gd name="T2" fmla="*/ 0 w 2"/>
                    <a:gd name="T3" fmla="*/ 0 h 2"/>
                    <a:gd name="T4" fmla="*/ 0 w 2"/>
                    <a:gd name="T5" fmla="*/ 2 h 2"/>
                    <a:gd name="T6" fmla="*/ 2 w 2"/>
                    <a:gd name="T7" fmla="*/ 2 h 2"/>
                    <a:gd name="T8" fmla="*/ 2 w 2"/>
                    <a:gd name="T9" fmla="*/ 0 h 2"/>
                    <a:gd name="T10" fmla="*/ 2 w 2"/>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2" y="0"/>
                      </a:moveTo>
                      <a:lnTo>
                        <a:pt x="0" y="0"/>
                      </a:lnTo>
                      <a:lnTo>
                        <a:pt x="0" y="2"/>
                      </a:lnTo>
                      <a:lnTo>
                        <a:pt x="2" y="2"/>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12" name="Freeform 173"/>
                <p:cNvSpPr>
                  <a:spLocks/>
                </p:cNvSpPr>
                <p:nvPr/>
              </p:nvSpPr>
              <p:spPr bwMode="auto">
                <a:xfrm>
                  <a:off x="-3196" y="2498"/>
                  <a:ext cx="3" cy="3"/>
                </a:xfrm>
                <a:custGeom>
                  <a:avLst/>
                  <a:gdLst>
                    <a:gd name="T0" fmla="*/ 2 w 2"/>
                    <a:gd name="T1" fmla="*/ 0 h 3"/>
                    <a:gd name="T2" fmla="*/ 0 w 2"/>
                    <a:gd name="T3" fmla="*/ 0 h 3"/>
                    <a:gd name="T4" fmla="*/ 0 w 2"/>
                    <a:gd name="T5" fmla="*/ 3 h 3"/>
                    <a:gd name="T6" fmla="*/ 2 w 2"/>
                    <a:gd name="T7" fmla="*/ 3 h 3"/>
                    <a:gd name="T8" fmla="*/ 2 w 2"/>
                    <a:gd name="T9" fmla="*/ 0 h 3"/>
                    <a:gd name="T10" fmla="*/ 2 w 2"/>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3">
                      <a:moveTo>
                        <a:pt x="2" y="0"/>
                      </a:moveTo>
                      <a:lnTo>
                        <a:pt x="0" y="0"/>
                      </a:lnTo>
                      <a:lnTo>
                        <a:pt x="0" y="3"/>
                      </a:lnTo>
                      <a:lnTo>
                        <a:pt x="2" y="3"/>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13" name="Freeform 174"/>
                <p:cNvSpPr>
                  <a:spLocks/>
                </p:cNvSpPr>
                <p:nvPr/>
              </p:nvSpPr>
              <p:spPr bwMode="auto">
                <a:xfrm>
                  <a:off x="-3198" y="2256"/>
                  <a:ext cx="2" cy="3"/>
                </a:xfrm>
                <a:custGeom>
                  <a:avLst/>
                  <a:gdLst>
                    <a:gd name="T0" fmla="*/ 3 w 3"/>
                    <a:gd name="T1" fmla="*/ 0 h 3"/>
                    <a:gd name="T2" fmla="*/ 0 w 3"/>
                    <a:gd name="T3" fmla="*/ 0 h 3"/>
                    <a:gd name="T4" fmla="*/ 0 w 3"/>
                    <a:gd name="T5" fmla="*/ 3 h 3"/>
                    <a:gd name="T6" fmla="*/ 3 w 3"/>
                    <a:gd name="T7" fmla="*/ 3 h 3"/>
                    <a:gd name="T8" fmla="*/ 3 w 3"/>
                    <a:gd name="T9" fmla="*/ 0 h 3"/>
                    <a:gd name="T10" fmla="*/ 3 w 3"/>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3">
                      <a:moveTo>
                        <a:pt x="3" y="0"/>
                      </a:moveTo>
                      <a:lnTo>
                        <a:pt x="0" y="0"/>
                      </a:lnTo>
                      <a:lnTo>
                        <a:pt x="0" y="3"/>
                      </a:lnTo>
                      <a:lnTo>
                        <a:pt x="3" y="3"/>
                      </a:ln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14" name="Freeform 175"/>
                <p:cNvSpPr>
                  <a:spLocks noEditPoints="1"/>
                </p:cNvSpPr>
                <p:nvPr/>
              </p:nvSpPr>
              <p:spPr bwMode="auto">
                <a:xfrm>
                  <a:off x="-3160" y="1524"/>
                  <a:ext cx="151" cy="733"/>
                </a:xfrm>
                <a:custGeom>
                  <a:avLst/>
                  <a:gdLst>
                    <a:gd name="T0" fmla="*/ 50 w 64"/>
                    <a:gd name="T1" fmla="*/ 195 h 309"/>
                    <a:gd name="T2" fmla="*/ 48 w 64"/>
                    <a:gd name="T3" fmla="*/ 195 h 309"/>
                    <a:gd name="T4" fmla="*/ 62 w 64"/>
                    <a:gd name="T5" fmla="*/ 309 h 309"/>
                    <a:gd name="T6" fmla="*/ 64 w 64"/>
                    <a:gd name="T7" fmla="*/ 309 h 309"/>
                    <a:gd name="T8" fmla="*/ 50 w 64"/>
                    <a:gd name="T9" fmla="*/ 195 h 309"/>
                    <a:gd name="T10" fmla="*/ 29 w 64"/>
                    <a:gd name="T11" fmla="*/ 98 h 309"/>
                    <a:gd name="T12" fmla="*/ 27 w 64"/>
                    <a:gd name="T13" fmla="*/ 98 h 309"/>
                    <a:gd name="T14" fmla="*/ 48 w 64"/>
                    <a:gd name="T15" fmla="*/ 194 h 309"/>
                    <a:gd name="T16" fmla="*/ 50 w 64"/>
                    <a:gd name="T17" fmla="*/ 194 h 309"/>
                    <a:gd name="T18" fmla="*/ 29 w 64"/>
                    <a:gd name="T19" fmla="*/ 98 h 309"/>
                    <a:gd name="T20" fmla="*/ 2 w 64"/>
                    <a:gd name="T21" fmla="*/ 0 h 309"/>
                    <a:gd name="T22" fmla="*/ 0 w 64"/>
                    <a:gd name="T23" fmla="*/ 0 h 309"/>
                    <a:gd name="T24" fmla="*/ 2 w 64"/>
                    <a:gd name="T25" fmla="*/ 9 h 309"/>
                    <a:gd name="T26" fmla="*/ 19 w 64"/>
                    <a:gd name="T27" fmla="*/ 66 h 309"/>
                    <a:gd name="T28" fmla="*/ 21 w 64"/>
                    <a:gd name="T29" fmla="*/ 66 h 309"/>
                    <a:gd name="T30" fmla="*/ 21 w 64"/>
                    <a:gd name="T31" fmla="*/ 67 h 309"/>
                    <a:gd name="T32" fmla="*/ 19 w 64"/>
                    <a:gd name="T33" fmla="*/ 67 h 309"/>
                    <a:gd name="T34" fmla="*/ 27 w 64"/>
                    <a:gd name="T35" fmla="*/ 97 h 309"/>
                    <a:gd name="T36" fmla="*/ 29 w 64"/>
                    <a:gd name="T37" fmla="*/ 97 h 309"/>
                    <a:gd name="T38" fmla="*/ 2 w 64"/>
                    <a:gd name="T39" fmla="*/ 0 h 30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15" name="Freeform 176"/>
                <p:cNvSpPr>
                  <a:spLocks/>
                </p:cNvSpPr>
                <p:nvPr/>
              </p:nvSpPr>
              <p:spPr bwMode="auto">
                <a:xfrm>
                  <a:off x="-3096" y="1754"/>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16" name="Freeform 177"/>
                <p:cNvSpPr>
                  <a:spLocks/>
                </p:cNvSpPr>
                <p:nvPr/>
              </p:nvSpPr>
              <p:spPr bwMode="auto">
                <a:xfrm>
                  <a:off x="-3116" y="1682"/>
                  <a:ext cx="5" cy="3"/>
                </a:xfrm>
                <a:custGeom>
                  <a:avLst/>
                  <a:gdLst>
                    <a:gd name="T0" fmla="*/ 0 w 2"/>
                    <a:gd name="T1" fmla="*/ 0 h 1"/>
                    <a:gd name="T2" fmla="*/ 0 w 2"/>
                    <a:gd name="T3" fmla="*/ 1 h 1"/>
                    <a:gd name="T4" fmla="*/ 2 w 2"/>
                    <a:gd name="T5" fmla="*/ 1 h 1"/>
                    <a:gd name="T6" fmla="*/ 2 w 2"/>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17" name="Line 178"/>
                <p:cNvSpPr>
                  <a:spLocks noChangeShapeType="1"/>
                </p:cNvSpPr>
                <p:nvPr/>
              </p:nvSpPr>
              <p:spPr bwMode="auto">
                <a:xfrm>
                  <a:off x="-3111" y="1682"/>
                  <a:ext cx="2"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18" name="Line 179"/>
                <p:cNvSpPr>
                  <a:spLocks noChangeShapeType="1"/>
                </p:cNvSpPr>
                <p:nvPr/>
              </p:nvSpPr>
              <p:spPr bwMode="auto">
                <a:xfrm>
                  <a:off x="-3111" y="1682"/>
                  <a:ext cx="2"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19" name="Freeform 180"/>
                <p:cNvSpPr>
                  <a:spLocks noEditPoints="1"/>
                </p:cNvSpPr>
                <p:nvPr/>
              </p:nvSpPr>
              <p:spPr bwMode="auto">
                <a:xfrm>
                  <a:off x="-3014" y="2260"/>
                  <a:ext cx="92" cy="1016"/>
                </a:xfrm>
                <a:custGeom>
                  <a:avLst/>
                  <a:gdLst>
                    <a:gd name="T0" fmla="*/ 26 w 39"/>
                    <a:gd name="T1" fmla="*/ 343 h 429"/>
                    <a:gd name="T2" fmla="*/ 24 w 39"/>
                    <a:gd name="T3" fmla="*/ 343 h 429"/>
                    <a:gd name="T4" fmla="*/ 37 w 39"/>
                    <a:gd name="T5" fmla="*/ 429 h 429"/>
                    <a:gd name="T6" fmla="*/ 39 w 39"/>
                    <a:gd name="T7" fmla="*/ 429 h 429"/>
                    <a:gd name="T8" fmla="*/ 30 w 39"/>
                    <a:gd name="T9" fmla="*/ 378 h 429"/>
                    <a:gd name="T10" fmla="*/ 26 w 39"/>
                    <a:gd name="T11" fmla="*/ 345 h 429"/>
                    <a:gd name="T12" fmla="*/ 26 w 39"/>
                    <a:gd name="T13" fmla="*/ 343 h 429"/>
                    <a:gd name="T14" fmla="*/ 13 w 39"/>
                    <a:gd name="T15" fmla="*/ 255 h 429"/>
                    <a:gd name="T16" fmla="*/ 11 w 39"/>
                    <a:gd name="T17" fmla="*/ 255 h 429"/>
                    <a:gd name="T18" fmla="*/ 23 w 39"/>
                    <a:gd name="T19" fmla="*/ 333 h 429"/>
                    <a:gd name="T20" fmla="*/ 23 w 39"/>
                    <a:gd name="T21" fmla="*/ 333 h 429"/>
                    <a:gd name="T22" fmla="*/ 24 w 39"/>
                    <a:gd name="T23" fmla="*/ 342 h 429"/>
                    <a:gd name="T24" fmla="*/ 26 w 39"/>
                    <a:gd name="T25" fmla="*/ 342 h 429"/>
                    <a:gd name="T26" fmla="*/ 25 w 39"/>
                    <a:gd name="T27" fmla="*/ 333 h 429"/>
                    <a:gd name="T28" fmla="*/ 25 w 39"/>
                    <a:gd name="T29" fmla="*/ 333 h 429"/>
                    <a:gd name="T30" fmla="*/ 25 w 39"/>
                    <a:gd name="T31" fmla="*/ 333 h 429"/>
                    <a:gd name="T32" fmla="*/ 13 w 39"/>
                    <a:gd name="T33" fmla="*/ 255 h 429"/>
                    <a:gd name="T34" fmla="*/ 10 w 39"/>
                    <a:gd name="T35" fmla="*/ 233 h 429"/>
                    <a:gd name="T36" fmla="*/ 8 w 39"/>
                    <a:gd name="T37" fmla="*/ 233 h 429"/>
                    <a:gd name="T38" fmla="*/ 11 w 39"/>
                    <a:gd name="T39" fmla="*/ 254 h 429"/>
                    <a:gd name="T40" fmla="*/ 13 w 39"/>
                    <a:gd name="T41" fmla="*/ 254 h 429"/>
                    <a:gd name="T42" fmla="*/ 10 w 39"/>
                    <a:gd name="T43" fmla="*/ 233 h 429"/>
                    <a:gd name="T44" fmla="*/ 4 w 39"/>
                    <a:gd name="T45" fmla="*/ 102 h 429"/>
                    <a:gd name="T46" fmla="*/ 2 w 39"/>
                    <a:gd name="T47" fmla="*/ 102 h 429"/>
                    <a:gd name="T48" fmla="*/ 2 w 39"/>
                    <a:gd name="T49" fmla="*/ 113 h 429"/>
                    <a:gd name="T50" fmla="*/ 2 w 39"/>
                    <a:gd name="T51" fmla="*/ 132 h 429"/>
                    <a:gd name="T52" fmla="*/ 8 w 39"/>
                    <a:gd name="T53" fmla="*/ 232 h 429"/>
                    <a:gd name="T54" fmla="*/ 10 w 39"/>
                    <a:gd name="T55" fmla="*/ 232 h 429"/>
                    <a:gd name="T56" fmla="*/ 4 w 39"/>
                    <a:gd name="T57" fmla="*/ 132 h 429"/>
                    <a:gd name="T58" fmla="*/ 4 w 39"/>
                    <a:gd name="T59" fmla="*/ 118 h 429"/>
                    <a:gd name="T60" fmla="*/ 4 w 39"/>
                    <a:gd name="T61" fmla="*/ 113 h 429"/>
                    <a:gd name="T62" fmla="*/ 4 w 39"/>
                    <a:gd name="T63" fmla="*/ 113 h 429"/>
                    <a:gd name="T64" fmla="*/ 4 w 39"/>
                    <a:gd name="T65" fmla="*/ 113 h 429"/>
                    <a:gd name="T66" fmla="*/ 4 w 39"/>
                    <a:gd name="T67" fmla="*/ 102 h 429"/>
                    <a:gd name="T68" fmla="*/ 2 w 39"/>
                    <a:gd name="T69" fmla="*/ 0 h 429"/>
                    <a:gd name="T70" fmla="*/ 0 w 39"/>
                    <a:gd name="T71" fmla="*/ 0 h 429"/>
                    <a:gd name="T72" fmla="*/ 0 w 39"/>
                    <a:gd name="T73" fmla="*/ 5 h 429"/>
                    <a:gd name="T74" fmla="*/ 0 w 39"/>
                    <a:gd name="T75" fmla="*/ 5 h 429"/>
                    <a:gd name="T76" fmla="*/ 0 w 39"/>
                    <a:gd name="T77" fmla="*/ 5 h 429"/>
                    <a:gd name="T78" fmla="*/ 0 w 39"/>
                    <a:gd name="T79" fmla="*/ 5 h 429"/>
                    <a:gd name="T80" fmla="*/ 2 w 39"/>
                    <a:gd name="T81" fmla="*/ 101 h 429"/>
                    <a:gd name="T82" fmla="*/ 4 w 39"/>
                    <a:gd name="T83" fmla="*/ 101 h 429"/>
                    <a:gd name="T84" fmla="*/ 2 w 39"/>
                    <a:gd name="T85" fmla="*/ 5 h 429"/>
                    <a:gd name="T86" fmla="*/ 2 w 39"/>
                    <a:gd name="T87" fmla="*/ 5 h 429"/>
                    <a:gd name="T88" fmla="*/ 2 w 39"/>
                    <a:gd name="T89" fmla="*/ 0 h 42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20" name="Freeform 181"/>
                <p:cNvSpPr>
                  <a:spLocks/>
                </p:cNvSpPr>
                <p:nvPr/>
              </p:nvSpPr>
              <p:spPr bwMode="auto">
                <a:xfrm>
                  <a:off x="-2958" y="3070"/>
                  <a:ext cx="7"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21" name="Freeform 182"/>
                <p:cNvSpPr>
                  <a:spLocks/>
                </p:cNvSpPr>
                <p:nvPr/>
              </p:nvSpPr>
              <p:spPr bwMode="auto">
                <a:xfrm>
                  <a:off x="-2986" y="2861"/>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22" name="Freeform 183"/>
                <p:cNvSpPr>
                  <a:spLocks/>
                </p:cNvSpPr>
                <p:nvPr/>
              </p:nvSpPr>
              <p:spPr bwMode="auto">
                <a:xfrm>
                  <a:off x="-2925" y="3278"/>
                  <a:ext cx="23" cy="77"/>
                </a:xfrm>
                <a:custGeom>
                  <a:avLst/>
                  <a:gdLst>
                    <a:gd name="T0" fmla="*/ 2 w 10"/>
                    <a:gd name="T1" fmla="*/ 0 h 32"/>
                    <a:gd name="T2" fmla="*/ 0 w 10"/>
                    <a:gd name="T3" fmla="*/ 0 h 32"/>
                    <a:gd name="T4" fmla="*/ 8 w 10"/>
                    <a:gd name="T5" fmla="*/ 32 h 32"/>
                    <a:gd name="T6" fmla="*/ 10 w 10"/>
                    <a:gd name="T7" fmla="*/ 32 h 32"/>
                    <a:gd name="T8" fmla="*/ 2 w 10"/>
                    <a:gd name="T9" fmla="*/ 0 h 3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23" name="Freeform 184"/>
                <p:cNvSpPr>
                  <a:spLocks/>
                </p:cNvSpPr>
                <p:nvPr/>
              </p:nvSpPr>
              <p:spPr bwMode="auto">
                <a:xfrm>
                  <a:off x="-2996" y="2810"/>
                  <a:ext cx="7"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24" name="Freeform 185"/>
                <p:cNvSpPr>
                  <a:spLocks/>
                </p:cNvSpPr>
                <p:nvPr/>
              </p:nvSpPr>
              <p:spPr bwMode="auto">
                <a:xfrm>
                  <a:off x="-2925" y="3276"/>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25" name="Freeform 186"/>
                <p:cNvSpPr>
                  <a:spLocks/>
                </p:cNvSpPr>
                <p:nvPr/>
              </p:nvSpPr>
              <p:spPr bwMode="auto">
                <a:xfrm>
                  <a:off x="-2907" y="3357"/>
                  <a:ext cx="20" cy="57"/>
                </a:xfrm>
                <a:custGeom>
                  <a:avLst/>
                  <a:gdLst>
                    <a:gd name="T0" fmla="*/ 2 w 8"/>
                    <a:gd name="T1" fmla="*/ 0 h 24"/>
                    <a:gd name="T2" fmla="*/ 0 w 8"/>
                    <a:gd name="T3" fmla="*/ 0 h 24"/>
                    <a:gd name="T4" fmla="*/ 6 w 8"/>
                    <a:gd name="T5" fmla="*/ 24 h 24"/>
                    <a:gd name="T6" fmla="*/ 8 w 8"/>
                    <a:gd name="T7" fmla="*/ 24 h 24"/>
                    <a:gd name="T8" fmla="*/ 2 w 8"/>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26" name="Freeform 187"/>
                <p:cNvSpPr>
                  <a:spLocks/>
                </p:cNvSpPr>
                <p:nvPr/>
              </p:nvSpPr>
              <p:spPr bwMode="auto">
                <a:xfrm>
                  <a:off x="-2907" y="3355"/>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27" name="Freeform 188"/>
                <p:cNvSpPr>
                  <a:spLocks/>
                </p:cNvSpPr>
                <p:nvPr/>
              </p:nvSpPr>
              <p:spPr bwMode="auto">
                <a:xfrm>
                  <a:off x="-3009" y="2498"/>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28" name="Freeform 189"/>
                <p:cNvSpPr>
                  <a:spLocks/>
                </p:cNvSpPr>
                <p:nvPr/>
              </p:nvSpPr>
              <p:spPr bwMode="auto">
                <a:xfrm>
                  <a:off x="-3014" y="2256"/>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29" name="Freeform 190"/>
                <p:cNvSpPr>
                  <a:spLocks/>
                </p:cNvSpPr>
                <p:nvPr/>
              </p:nvSpPr>
              <p:spPr bwMode="auto">
                <a:xfrm>
                  <a:off x="-2902" y="1987"/>
                  <a:ext cx="82" cy="270"/>
                </a:xfrm>
                <a:custGeom>
                  <a:avLst/>
                  <a:gdLst>
                    <a:gd name="T0" fmla="*/ 2 w 35"/>
                    <a:gd name="T1" fmla="*/ 0 h 114"/>
                    <a:gd name="T2" fmla="*/ 0 w 35"/>
                    <a:gd name="T3" fmla="*/ 0 h 114"/>
                    <a:gd name="T4" fmla="*/ 0 w 35"/>
                    <a:gd name="T5" fmla="*/ 5 h 114"/>
                    <a:gd name="T6" fmla="*/ 1 w 35"/>
                    <a:gd name="T7" fmla="*/ 5 h 114"/>
                    <a:gd name="T8" fmla="*/ 1 w 35"/>
                    <a:gd name="T9" fmla="*/ 5 h 114"/>
                    <a:gd name="T10" fmla="*/ 2 w 35"/>
                    <a:gd name="T11" fmla="*/ 8 h 114"/>
                    <a:gd name="T12" fmla="*/ 33 w 35"/>
                    <a:gd name="T13" fmla="*/ 114 h 114"/>
                    <a:gd name="T14" fmla="*/ 35 w 35"/>
                    <a:gd name="T15" fmla="*/ 114 h 114"/>
                    <a:gd name="T16" fmla="*/ 32 w 35"/>
                    <a:gd name="T17" fmla="*/ 101 h 114"/>
                    <a:gd name="T18" fmla="*/ 30 w 35"/>
                    <a:gd name="T19" fmla="*/ 101 h 114"/>
                    <a:gd name="T20" fmla="*/ 30 w 35"/>
                    <a:gd name="T21" fmla="*/ 100 h 114"/>
                    <a:gd name="T22" fmla="*/ 32 w 35"/>
                    <a:gd name="T23" fmla="*/ 100 h 114"/>
                    <a:gd name="T24" fmla="*/ 2 w 35"/>
                    <a:gd name="T25" fmla="*/ 4 h 114"/>
                    <a:gd name="T26" fmla="*/ 2 w 35"/>
                    <a:gd name="T27" fmla="*/ 0 h 1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30" name="Freeform 191"/>
                <p:cNvSpPr>
                  <a:spLocks/>
                </p:cNvSpPr>
                <p:nvPr/>
              </p:nvSpPr>
              <p:spPr bwMode="auto">
                <a:xfrm>
                  <a:off x="-2831" y="2222"/>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31" name="Freeform 192"/>
                <p:cNvSpPr>
                  <a:spLocks noEditPoints="1"/>
                </p:cNvSpPr>
                <p:nvPr/>
              </p:nvSpPr>
              <p:spPr bwMode="auto">
                <a:xfrm>
                  <a:off x="-3112" y="1522"/>
                  <a:ext cx="215" cy="462"/>
                </a:xfrm>
                <a:custGeom>
                  <a:avLst/>
                  <a:gdLst>
                    <a:gd name="T0" fmla="*/ 67 w 91"/>
                    <a:gd name="T1" fmla="*/ 99 h 195"/>
                    <a:gd name="T2" fmla="*/ 65 w 91"/>
                    <a:gd name="T3" fmla="*/ 99 h 195"/>
                    <a:gd name="T4" fmla="*/ 89 w 91"/>
                    <a:gd name="T5" fmla="*/ 195 h 195"/>
                    <a:gd name="T6" fmla="*/ 91 w 91"/>
                    <a:gd name="T7" fmla="*/ 195 h 195"/>
                    <a:gd name="T8" fmla="*/ 67 w 91"/>
                    <a:gd name="T9" fmla="*/ 99 h 195"/>
                    <a:gd name="T10" fmla="*/ 53 w 91"/>
                    <a:gd name="T11" fmla="*/ 68 h 195"/>
                    <a:gd name="T12" fmla="*/ 53 w 91"/>
                    <a:gd name="T13" fmla="*/ 68 h 195"/>
                    <a:gd name="T14" fmla="*/ 51 w 91"/>
                    <a:gd name="T15" fmla="*/ 68 h 195"/>
                    <a:gd name="T16" fmla="*/ 64 w 91"/>
                    <a:gd name="T17" fmla="*/ 98 h 195"/>
                    <a:gd name="T18" fmla="*/ 66 w 91"/>
                    <a:gd name="T19" fmla="*/ 98 h 195"/>
                    <a:gd name="T20" fmla="*/ 53 w 91"/>
                    <a:gd name="T21" fmla="*/ 68 h 195"/>
                    <a:gd name="T22" fmla="*/ 2 w 91"/>
                    <a:gd name="T23" fmla="*/ 0 h 195"/>
                    <a:gd name="T24" fmla="*/ 1 w 91"/>
                    <a:gd name="T25" fmla="*/ 0 h 195"/>
                    <a:gd name="T26" fmla="*/ 0 w 91"/>
                    <a:gd name="T27" fmla="*/ 1 h 195"/>
                    <a:gd name="T28" fmla="*/ 1 w 91"/>
                    <a:gd name="T29" fmla="*/ 2 h 195"/>
                    <a:gd name="T30" fmla="*/ 50 w 91"/>
                    <a:gd name="T31" fmla="*/ 67 h 195"/>
                    <a:gd name="T32" fmla="*/ 52 w 91"/>
                    <a:gd name="T33" fmla="*/ 67 h 195"/>
                    <a:gd name="T34" fmla="*/ 2 w 91"/>
                    <a:gd name="T35" fmla="*/ 0 h 19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32" name="Freeform 193"/>
                <p:cNvSpPr>
                  <a:spLocks/>
                </p:cNvSpPr>
                <p:nvPr/>
              </p:nvSpPr>
              <p:spPr bwMode="auto">
                <a:xfrm>
                  <a:off x="-2961" y="1754"/>
                  <a:ext cx="8" cy="2"/>
                </a:xfrm>
                <a:custGeom>
                  <a:avLst/>
                  <a:gdLst>
                    <a:gd name="T0" fmla="*/ 2 w 3"/>
                    <a:gd name="T1" fmla="*/ 0 h 1"/>
                    <a:gd name="T2" fmla="*/ 0 w 3"/>
                    <a:gd name="T3" fmla="*/ 0 h 1"/>
                    <a:gd name="T4" fmla="*/ 1 w 3"/>
                    <a:gd name="T5" fmla="*/ 1 h 1"/>
                    <a:gd name="T6" fmla="*/ 3 w 3"/>
                    <a:gd name="T7" fmla="*/ 1 h 1"/>
                    <a:gd name="T8" fmla="*/ 2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33" name="Freeform 194"/>
                <p:cNvSpPr>
                  <a:spLocks/>
                </p:cNvSpPr>
                <p:nvPr/>
              </p:nvSpPr>
              <p:spPr bwMode="auto">
                <a:xfrm>
                  <a:off x="-2989" y="1682"/>
                  <a:ext cx="3" cy="3"/>
                </a:xfrm>
                <a:custGeom>
                  <a:avLst/>
                  <a:gdLst>
                    <a:gd name="T0" fmla="*/ 1 w 1"/>
                    <a:gd name="T1" fmla="*/ 1 h 1"/>
                    <a:gd name="T2" fmla="*/ 0 w 1"/>
                    <a:gd name="T3" fmla="*/ 0 h 1"/>
                    <a:gd name="T4" fmla="*/ 0 60000 65536"/>
                    <a:gd name="T5" fmla="*/ 0 60000 65536"/>
                  </a:gdLst>
                  <a:ahLst/>
                  <a:cxnLst>
                    <a:cxn ang="T4">
                      <a:pos x="T0" y="T1"/>
                    </a:cxn>
                    <a:cxn ang="T5">
                      <a:pos x="T2" y="T3"/>
                    </a:cxn>
                  </a:cxnLst>
                  <a:rect l="0" t="0" r="r" b="b"/>
                  <a:pathLst>
                    <a:path w="1" h="1">
                      <a:moveTo>
                        <a:pt x="1" y="1"/>
                      </a:moveTo>
                      <a:cubicBezTo>
                        <a:pt x="1" y="1"/>
                        <a:pt x="0" y="1"/>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34" name="Freeform 195"/>
                <p:cNvSpPr>
                  <a:spLocks/>
                </p:cNvSpPr>
                <p:nvPr/>
              </p:nvSpPr>
              <p:spPr bwMode="auto">
                <a:xfrm>
                  <a:off x="-2996" y="1682"/>
                  <a:ext cx="7" cy="3"/>
                </a:xfrm>
                <a:custGeom>
                  <a:avLst/>
                  <a:gdLst>
                    <a:gd name="T0" fmla="*/ 2 w 2"/>
                    <a:gd name="T1" fmla="*/ 0 h 1"/>
                    <a:gd name="T2" fmla="*/ 0 w 2"/>
                    <a:gd name="T3" fmla="*/ 0 h 1"/>
                    <a:gd name="T4" fmla="*/ 1 w 2"/>
                    <a:gd name="T5" fmla="*/ 1 h 1"/>
                    <a:gd name="T6" fmla="*/ 0 60000 65536"/>
                    <a:gd name="T7" fmla="*/ 0 60000 65536"/>
                    <a:gd name="T8" fmla="*/ 0 60000 65536"/>
                  </a:gdLst>
                  <a:ahLst/>
                  <a:cxnLst>
                    <a:cxn ang="T6">
                      <a:pos x="T0" y="T1"/>
                    </a:cxn>
                    <a:cxn ang="T7">
                      <a:pos x="T2" y="T3"/>
                    </a:cxn>
                    <a:cxn ang="T8">
                      <a:pos x="T4" y="T5"/>
                    </a:cxn>
                  </a:cxnLst>
                  <a:rect l="0" t="0" r="r" b="b"/>
                  <a:pathLst>
                    <a:path w="2" h="1">
                      <a:moveTo>
                        <a:pt x="2" y="0"/>
                      </a:moveTo>
                      <a:cubicBezTo>
                        <a:pt x="0" y="0"/>
                        <a:pt x="0" y="0"/>
                        <a:pt x="0" y="0"/>
                      </a:cubicBezTo>
                      <a:cubicBezTo>
                        <a:pt x="0" y="1"/>
                        <a:pt x="0" y="1"/>
                        <a:pt x="1"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35" name="Freeform 196"/>
                <p:cNvSpPr>
                  <a:spLocks noEditPoints="1"/>
                </p:cNvSpPr>
                <p:nvPr/>
              </p:nvSpPr>
              <p:spPr bwMode="auto">
                <a:xfrm>
                  <a:off x="-2823" y="2260"/>
                  <a:ext cx="25" cy="1016"/>
                </a:xfrm>
                <a:custGeom>
                  <a:avLst/>
                  <a:gdLst>
                    <a:gd name="T0" fmla="*/ 8 w 11"/>
                    <a:gd name="T1" fmla="*/ 343 h 429"/>
                    <a:gd name="T2" fmla="*/ 6 w 11"/>
                    <a:gd name="T3" fmla="*/ 343 h 429"/>
                    <a:gd name="T4" fmla="*/ 6 w 11"/>
                    <a:gd name="T5" fmla="*/ 429 h 429"/>
                    <a:gd name="T6" fmla="*/ 8 w 11"/>
                    <a:gd name="T7" fmla="*/ 429 h 429"/>
                    <a:gd name="T8" fmla="*/ 8 w 11"/>
                    <a:gd name="T9" fmla="*/ 343 h 429"/>
                    <a:gd name="T10" fmla="*/ 11 w 11"/>
                    <a:gd name="T11" fmla="*/ 233 h 429"/>
                    <a:gd name="T12" fmla="*/ 9 w 11"/>
                    <a:gd name="T13" fmla="*/ 233 h 429"/>
                    <a:gd name="T14" fmla="*/ 5 w 11"/>
                    <a:gd name="T15" fmla="*/ 333 h 429"/>
                    <a:gd name="T16" fmla="*/ 6 w 11"/>
                    <a:gd name="T17" fmla="*/ 342 h 429"/>
                    <a:gd name="T18" fmla="*/ 8 w 11"/>
                    <a:gd name="T19" fmla="*/ 342 h 429"/>
                    <a:gd name="T20" fmla="*/ 8 w 11"/>
                    <a:gd name="T21" fmla="*/ 333 h 429"/>
                    <a:gd name="T22" fmla="*/ 11 w 11"/>
                    <a:gd name="T23" fmla="*/ 233 h 429"/>
                    <a:gd name="T24" fmla="*/ 10 w 11"/>
                    <a:gd name="T25" fmla="*/ 102 h 429"/>
                    <a:gd name="T26" fmla="*/ 8 w 11"/>
                    <a:gd name="T27" fmla="*/ 102 h 429"/>
                    <a:gd name="T28" fmla="*/ 9 w 11"/>
                    <a:gd name="T29" fmla="*/ 178 h 429"/>
                    <a:gd name="T30" fmla="*/ 9 w 11"/>
                    <a:gd name="T31" fmla="*/ 232 h 429"/>
                    <a:gd name="T32" fmla="*/ 11 w 11"/>
                    <a:gd name="T33" fmla="*/ 232 h 429"/>
                    <a:gd name="T34" fmla="*/ 11 w 11"/>
                    <a:gd name="T35" fmla="*/ 178 h 429"/>
                    <a:gd name="T36" fmla="*/ 10 w 11"/>
                    <a:gd name="T37" fmla="*/ 102 h 429"/>
                    <a:gd name="T38" fmla="*/ 2 w 11"/>
                    <a:gd name="T39" fmla="*/ 0 h 429"/>
                    <a:gd name="T40" fmla="*/ 0 w 11"/>
                    <a:gd name="T41" fmla="*/ 0 h 429"/>
                    <a:gd name="T42" fmla="*/ 7 w 11"/>
                    <a:gd name="T43" fmla="*/ 60 h 429"/>
                    <a:gd name="T44" fmla="*/ 7 w 11"/>
                    <a:gd name="T45" fmla="*/ 69 h 429"/>
                    <a:gd name="T46" fmla="*/ 8 w 11"/>
                    <a:gd name="T47" fmla="*/ 101 h 429"/>
                    <a:gd name="T48" fmla="*/ 10 w 11"/>
                    <a:gd name="T49" fmla="*/ 101 h 429"/>
                    <a:gd name="T50" fmla="*/ 9 w 11"/>
                    <a:gd name="T51" fmla="*/ 60 h 429"/>
                    <a:gd name="T52" fmla="*/ 2 w 11"/>
                    <a:gd name="T53" fmla="*/ 0 h 42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36" name="Freeform 197"/>
                <p:cNvSpPr>
                  <a:spLocks/>
                </p:cNvSpPr>
                <p:nvPr/>
              </p:nvSpPr>
              <p:spPr bwMode="auto">
                <a:xfrm>
                  <a:off x="-2810" y="3070"/>
                  <a:ext cx="5" cy="2"/>
                </a:xfrm>
                <a:custGeom>
                  <a:avLst/>
                  <a:gdLst>
                    <a:gd name="T0" fmla="*/ 4 w 4"/>
                    <a:gd name="T1" fmla="*/ 0 h 3"/>
                    <a:gd name="T2" fmla="*/ 0 w 4"/>
                    <a:gd name="T3" fmla="*/ 0 h 3"/>
                    <a:gd name="T4" fmla="*/ 0 w 4"/>
                    <a:gd name="T5" fmla="*/ 3 h 3"/>
                    <a:gd name="T6" fmla="*/ 4 w 4"/>
                    <a:gd name="T7" fmla="*/ 3 h 3"/>
                    <a:gd name="T8" fmla="*/ 4 w 4"/>
                    <a:gd name="T9" fmla="*/ 0 h 3"/>
                    <a:gd name="T10" fmla="*/ 4 w 4"/>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3">
                      <a:moveTo>
                        <a:pt x="4" y="0"/>
                      </a:moveTo>
                      <a:lnTo>
                        <a:pt x="0" y="0"/>
                      </a:lnTo>
                      <a:lnTo>
                        <a:pt x="0" y="3"/>
                      </a:lnTo>
                      <a:lnTo>
                        <a:pt x="4" y="3"/>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37" name="Freeform 198"/>
                <p:cNvSpPr>
                  <a:spLocks/>
                </p:cNvSpPr>
                <p:nvPr/>
              </p:nvSpPr>
              <p:spPr bwMode="auto">
                <a:xfrm>
                  <a:off x="-2810" y="3278"/>
                  <a:ext cx="5" cy="77"/>
                </a:xfrm>
                <a:custGeom>
                  <a:avLst/>
                  <a:gdLst>
                    <a:gd name="T0" fmla="*/ 4 w 4"/>
                    <a:gd name="T1" fmla="*/ 0 h 76"/>
                    <a:gd name="T2" fmla="*/ 0 w 4"/>
                    <a:gd name="T3" fmla="*/ 0 h 76"/>
                    <a:gd name="T4" fmla="*/ 0 w 4"/>
                    <a:gd name="T5" fmla="*/ 76 h 76"/>
                    <a:gd name="T6" fmla="*/ 4 w 4"/>
                    <a:gd name="T7" fmla="*/ 76 h 76"/>
                    <a:gd name="T8" fmla="*/ 4 w 4"/>
                    <a:gd name="T9" fmla="*/ 0 h 76"/>
                    <a:gd name="T10" fmla="*/ 4 w 4"/>
                    <a:gd name="T11" fmla="*/ 0 h 7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76">
                      <a:moveTo>
                        <a:pt x="4" y="0"/>
                      </a:moveTo>
                      <a:lnTo>
                        <a:pt x="0" y="0"/>
                      </a:lnTo>
                      <a:lnTo>
                        <a:pt x="0" y="76"/>
                      </a:lnTo>
                      <a:lnTo>
                        <a:pt x="4" y="76"/>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38" name="Freeform 199"/>
                <p:cNvSpPr>
                  <a:spLocks/>
                </p:cNvSpPr>
                <p:nvPr/>
              </p:nvSpPr>
              <p:spPr bwMode="auto">
                <a:xfrm>
                  <a:off x="-2803" y="2810"/>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39" name="Freeform 200"/>
                <p:cNvSpPr>
                  <a:spLocks/>
                </p:cNvSpPr>
                <p:nvPr/>
              </p:nvSpPr>
              <p:spPr bwMode="auto">
                <a:xfrm>
                  <a:off x="-2810" y="3276"/>
                  <a:ext cx="5" cy="2"/>
                </a:xfrm>
                <a:custGeom>
                  <a:avLst/>
                  <a:gdLst>
                    <a:gd name="T0" fmla="*/ 4 w 4"/>
                    <a:gd name="T1" fmla="*/ 0 h 2"/>
                    <a:gd name="T2" fmla="*/ 0 w 4"/>
                    <a:gd name="T3" fmla="*/ 0 h 2"/>
                    <a:gd name="T4" fmla="*/ 0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40" name="Freeform 201"/>
                <p:cNvSpPr>
                  <a:spLocks/>
                </p:cNvSpPr>
                <p:nvPr/>
              </p:nvSpPr>
              <p:spPr bwMode="auto">
                <a:xfrm>
                  <a:off x="-2810" y="3357"/>
                  <a:ext cx="5" cy="71"/>
                </a:xfrm>
                <a:custGeom>
                  <a:avLst/>
                  <a:gdLst>
                    <a:gd name="T0" fmla="*/ 4 w 4"/>
                    <a:gd name="T1" fmla="*/ 0 h 71"/>
                    <a:gd name="T2" fmla="*/ 0 w 4"/>
                    <a:gd name="T3" fmla="*/ 0 h 71"/>
                    <a:gd name="T4" fmla="*/ 0 w 4"/>
                    <a:gd name="T5" fmla="*/ 71 h 71"/>
                    <a:gd name="T6" fmla="*/ 4 w 4"/>
                    <a:gd name="T7" fmla="*/ 71 h 71"/>
                    <a:gd name="T8" fmla="*/ 4 w 4"/>
                    <a:gd name="T9" fmla="*/ 0 h 71"/>
                    <a:gd name="T10" fmla="*/ 4 w 4"/>
                    <a:gd name="T11" fmla="*/ 0 h 7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71">
                      <a:moveTo>
                        <a:pt x="4" y="0"/>
                      </a:moveTo>
                      <a:lnTo>
                        <a:pt x="0" y="0"/>
                      </a:lnTo>
                      <a:lnTo>
                        <a:pt x="0" y="71"/>
                      </a:lnTo>
                      <a:lnTo>
                        <a:pt x="4" y="71"/>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41" name="Freeform 202"/>
                <p:cNvSpPr>
                  <a:spLocks/>
                </p:cNvSpPr>
                <p:nvPr/>
              </p:nvSpPr>
              <p:spPr bwMode="auto">
                <a:xfrm>
                  <a:off x="-2810" y="3355"/>
                  <a:ext cx="5" cy="2"/>
                </a:xfrm>
                <a:custGeom>
                  <a:avLst/>
                  <a:gdLst>
                    <a:gd name="T0" fmla="*/ 4 w 4"/>
                    <a:gd name="T1" fmla="*/ 0 h 2"/>
                    <a:gd name="T2" fmla="*/ 0 w 4"/>
                    <a:gd name="T3" fmla="*/ 0 h 2"/>
                    <a:gd name="T4" fmla="*/ 0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42" name="Freeform 203"/>
                <p:cNvSpPr>
                  <a:spLocks/>
                </p:cNvSpPr>
                <p:nvPr/>
              </p:nvSpPr>
              <p:spPr bwMode="auto">
                <a:xfrm>
                  <a:off x="-2805" y="2498"/>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43" name="Freeform 204"/>
                <p:cNvSpPr>
                  <a:spLocks/>
                </p:cNvSpPr>
                <p:nvPr/>
              </p:nvSpPr>
              <p:spPr bwMode="auto">
                <a:xfrm>
                  <a:off x="-2823" y="2256"/>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grpSp>
          <p:sp>
            <p:nvSpPr>
              <p:cNvPr id="50" name="Freeform 206"/>
              <p:cNvSpPr>
                <a:spLocks/>
              </p:cNvSpPr>
              <p:nvPr/>
            </p:nvSpPr>
            <p:spPr bwMode="auto">
              <a:xfrm>
                <a:off x="-4870436" y="2416156"/>
                <a:ext cx="346925" cy="368969"/>
              </a:xfrm>
              <a:custGeom>
                <a:avLst/>
                <a:gdLst>
                  <a:gd name="T0" fmla="*/ 0 w 93"/>
                  <a:gd name="T1" fmla="*/ 0 h 98"/>
                  <a:gd name="T2" fmla="*/ 0 w 93"/>
                  <a:gd name="T3" fmla="*/ 1 h 98"/>
                  <a:gd name="T4" fmla="*/ 1 w 93"/>
                  <a:gd name="T5" fmla="*/ 2 h 98"/>
                  <a:gd name="T6" fmla="*/ 91 w 93"/>
                  <a:gd name="T7" fmla="*/ 98 h 98"/>
                  <a:gd name="T8" fmla="*/ 93 w 93"/>
                  <a:gd name="T9" fmla="*/ 98 h 98"/>
                  <a:gd name="T10" fmla="*/ 71 w 93"/>
                  <a:gd name="T11" fmla="*/ 68 h 98"/>
                  <a:gd name="T12" fmla="*/ 70 w 93"/>
                  <a:gd name="T13" fmla="*/ 68 h 98"/>
                  <a:gd name="T14" fmla="*/ 70 w 93"/>
                  <a:gd name="T15" fmla="*/ 68 h 98"/>
                  <a:gd name="T16" fmla="*/ 0 w 93"/>
                  <a:gd name="T17" fmla="*/ 0 h 9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51" name="Freeform 207"/>
              <p:cNvSpPr>
                <a:spLocks/>
              </p:cNvSpPr>
              <p:nvPr/>
            </p:nvSpPr>
            <p:spPr bwMode="auto">
              <a:xfrm>
                <a:off x="-4609590" y="2671974"/>
                <a:ext cx="5217" cy="2459"/>
              </a:xfrm>
              <a:custGeom>
                <a:avLst/>
                <a:gdLst>
                  <a:gd name="T0" fmla="*/ 0 w 1"/>
                  <a:gd name="T1" fmla="*/ 0 h 2459"/>
                  <a:gd name="T2" fmla="*/ 0 w 1"/>
                  <a:gd name="T3" fmla="*/ 0 h 2459"/>
                  <a:gd name="T4" fmla="*/ 1 w 1"/>
                  <a:gd name="T5" fmla="*/ 0 h 2459"/>
                  <a:gd name="T6" fmla="*/ 0 w 1"/>
                  <a:gd name="T7" fmla="*/ 0 h 245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2459">
                    <a:moveTo>
                      <a:pt x="0" y="0"/>
                    </a:moveTo>
                    <a:cubicBezTo>
                      <a:pt x="0" y="0"/>
                      <a:pt x="0" y="0"/>
                      <a:pt x="0" y="0"/>
                    </a:cubicBezTo>
                    <a:cubicBezTo>
                      <a:pt x="1" y="0"/>
                      <a:pt x="1" y="0"/>
                      <a:pt x="1"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52" name="Freeform 208"/>
              <p:cNvSpPr>
                <a:spLocks/>
              </p:cNvSpPr>
              <p:nvPr/>
            </p:nvSpPr>
            <p:spPr bwMode="auto">
              <a:xfrm>
                <a:off x="-4818267" y="2418615"/>
                <a:ext cx="482565" cy="366510"/>
              </a:xfrm>
              <a:custGeom>
                <a:avLst/>
                <a:gdLst>
                  <a:gd name="T0" fmla="*/ 1 w 128"/>
                  <a:gd name="T1" fmla="*/ 0 h 97"/>
                  <a:gd name="T2" fmla="*/ 0 w 128"/>
                  <a:gd name="T3" fmla="*/ 1 h 97"/>
                  <a:gd name="T4" fmla="*/ 3 w 128"/>
                  <a:gd name="T5" fmla="*/ 1 h 97"/>
                  <a:gd name="T6" fmla="*/ 102 w 128"/>
                  <a:gd name="T7" fmla="*/ 66 h 97"/>
                  <a:gd name="T8" fmla="*/ 103 w 128"/>
                  <a:gd name="T9" fmla="*/ 66 h 97"/>
                  <a:gd name="T10" fmla="*/ 103 w 128"/>
                  <a:gd name="T11" fmla="*/ 67 h 97"/>
                  <a:gd name="T12" fmla="*/ 103 w 128"/>
                  <a:gd name="T13" fmla="*/ 67 h 97"/>
                  <a:gd name="T14" fmla="*/ 127 w 128"/>
                  <a:gd name="T15" fmla="*/ 97 h 97"/>
                  <a:gd name="T16" fmla="*/ 128 w 128"/>
                  <a:gd name="T17" fmla="*/ 97 h 97"/>
                  <a:gd name="T18" fmla="*/ 1 w 128"/>
                  <a:gd name="T19" fmla="*/ 0 h 9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53" name="Freeform 209"/>
              <p:cNvSpPr>
                <a:spLocks/>
              </p:cNvSpPr>
              <p:nvPr/>
            </p:nvSpPr>
            <p:spPr bwMode="auto">
              <a:xfrm>
                <a:off x="-4434823" y="2669513"/>
                <a:ext cx="5217" cy="2461"/>
              </a:xfrm>
              <a:custGeom>
                <a:avLst/>
                <a:gdLst>
                  <a:gd name="T0" fmla="*/ 1 w 1"/>
                  <a:gd name="T1" fmla="*/ 0 h 1"/>
                  <a:gd name="T2" fmla="*/ 0 w 1"/>
                  <a:gd name="T3" fmla="*/ 0 h 1"/>
                  <a:gd name="T4" fmla="*/ 1 w 1"/>
                  <a:gd name="T5" fmla="*/ 1 h 1"/>
                  <a:gd name="T6" fmla="*/ 1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54" name="Freeform 210"/>
              <p:cNvSpPr>
                <a:spLocks noEditPoints="1"/>
              </p:cNvSpPr>
              <p:nvPr/>
            </p:nvSpPr>
            <p:spPr bwMode="auto">
              <a:xfrm>
                <a:off x="-2681941" y="3151632"/>
                <a:ext cx="73037" cy="430464"/>
              </a:xfrm>
              <a:custGeom>
                <a:avLst/>
                <a:gdLst>
                  <a:gd name="T0" fmla="*/ 17 w 19"/>
                  <a:gd name="T1" fmla="*/ 101 h 114"/>
                  <a:gd name="T2" fmla="*/ 15 w 19"/>
                  <a:gd name="T3" fmla="*/ 101 h 114"/>
                  <a:gd name="T4" fmla="*/ 16 w 19"/>
                  <a:gd name="T5" fmla="*/ 110 h 114"/>
                  <a:gd name="T6" fmla="*/ 16 w 19"/>
                  <a:gd name="T7" fmla="*/ 110 h 114"/>
                  <a:gd name="T8" fmla="*/ 16 w 19"/>
                  <a:gd name="T9" fmla="*/ 110 h 114"/>
                  <a:gd name="T10" fmla="*/ 17 w 19"/>
                  <a:gd name="T11" fmla="*/ 114 h 114"/>
                  <a:gd name="T12" fmla="*/ 19 w 19"/>
                  <a:gd name="T13" fmla="*/ 114 h 114"/>
                  <a:gd name="T14" fmla="*/ 18 w 19"/>
                  <a:gd name="T15" fmla="*/ 109 h 114"/>
                  <a:gd name="T16" fmla="*/ 18 w 19"/>
                  <a:gd name="T17" fmla="*/ 109 h 114"/>
                  <a:gd name="T18" fmla="*/ 17 w 19"/>
                  <a:gd name="T19" fmla="*/ 101 h 114"/>
                  <a:gd name="T20" fmla="*/ 2 w 19"/>
                  <a:gd name="T21" fmla="*/ 0 h 114"/>
                  <a:gd name="T22" fmla="*/ 0 w 19"/>
                  <a:gd name="T23" fmla="*/ 0 h 114"/>
                  <a:gd name="T24" fmla="*/ 15 w 19"/>
                  <a:gd name="T25" fmla="*/ 100 h 114"/>
                  <a:gd name="T26" fmla="*/ 17 w 19"/>
                  <a:gd name="T27" fmla="*/ 100 h 114"/>
                  <a:gd name="T28" fmla="*/ 2 w 19"/>
                  <a:gd name="T29" fmla="*/ 0 h 1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55" name="Freeform 211"/>
              <p:cNvSpPr>
                <a:spLocks/>
              </p:cNvSpPr>
              <p:nvPr/>
            </p:nvSpPr>
            <p:spPr bwMode="auto">
              <a:xfrm>
                <a:off x="-2621947" y="3527981"/>
                <a:ext cx="5217" cy="4920"/>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56" name="Freeform 212"/>
              <p:cNvSpPr>
                <a:spLocks noEditPoints="1"/>
              </p:cNvSpPr>
              <p:nvPr/>
            </p:nvSpPr>
            <p:spPr bwMode="auto">
              <a:xfrm>
                <a:off x="-2809756" y="3587016"/>
                <a:ext cx="232153" cy="1613622"/>
              </a:xfrm>
              <a:custGeom>
                <a:avLst/>
                <a:gdLst>
                  <a:gd name="T0" fmla="*/ 31 w 62"/>
                  <a:gd name="T1" fmla="*/ 343 h 429"/>
                  <a:gd name="T2" fmla="*/ 29 w 62"/>
                  <a:gd name="T3" fmla="*/ 343 h 429"/>
                  <a:gd name="T4" fmla="*/ 0 w 62"/>
                  <a:gd name="T5" fmla="*/ 429 h 429"/>
                  <a:gd name="T6" fmla="*/ 2 w 62"/>
                  <a:gd name="T7" fmla="*/ 429 h 429"/>
                  <a:gd name="T8" fmla="*/ 31 w 62"/>
                  <a:gd name="T9" fmla="*/ 343 h 429"/>
                  <a:gd name="T10" fmla="*/ 55 w 62"/>
                  <a:gd name="T11" fmla="*/ 233 h 429"/>
                  <a:gd name="T12" fmla="*/ 53 w 62"/>
                  <a:gd name="T13" fmla="*/ 233 h 429"/>
                  <a:gd name="T14" fmla="*/ 52 w 62"/>
                  <a:gd name="T15" fmla="*/ 239 h 429"/>
                  <a:gd name="T16" fmla="*/ 29 w 62"/>
                  <a:gd name="T17" fmla="*/ 342 h 429"/>
                  <a:gd name="T18" fmla="*/ 29 w 62"/>
                  <a:gd name="T19" fmla="*/ 342 h 429"/>
                  <a:gd name="T20" fmla="*/ 31 w 62"/>
                  <a:gd name="T21" fmla="*/ 342 h 429"/>
                  <a:gd name="T22" fmla="*/ 55 w 62"/>
                  <a:gd name="T23" fmla="*/ 233 h 429"/>
                  <a:gd name="T24" fmla="*/ 61 w 62"/>
                  <a:gd name="T25" fmla="*/ 102 h 429"/>
                  <a:gd name="T26" fmla="*/ 59 w 62"/>
                  <a:gd name="T27" fmla="*/ 102 h 429"/>
                  <a:gd name="T28" fmla="*/ 60 w 62"/>
                  <a:gd name="T29" fmla="*/ 129 h 429"/>
                  <a:gd name="T30" fmla="*/ 54 w 62"/>
                  <a:gd name="T31" fmla="*/ 231 h 429"/>
                  <a:gd name="T32" fmla="*/ 54 w 62"/>
                  <a:gd name="T33" fmla="*/ 231 h 429"/>
                  <a:gd name="T34" fmla="*/ 54 w 62"/>
                  <a:gd name="T35" fmla="*/ 232 h 429"/>
                  <a:gd name="T36" fmla="*/ 56 w 62"/>
                  <a:gd name="T37" fmla="*/ 232 h 429"/>
                  <a:gd name="T38" fmla="*/ 56 w 62"/>
                  <a:gd name="T39" fmla="*/ 231 h 429"/>
                  <a:gd name="T40" fmla="*/ 56 w 62"/>
                  <a:gd name="T41" fmla="*/ 231 h 429"/>
                  <a:gd name="T42" fmla="*/ 62 w 62"/>
                  <a:gd name="T43" fmla="*/ 129 h 429"/>
                  <a:gd name="T44" fmla="*/ 61 w 62"/>
                  <a:gd name="T45" fmla="*/ 102 h 429"/>
                  <a:gd name="T46" fmla="*/ 54 w 62"/>
                  <a:gd name="T47" fmla="*/ 0 h 429"/>
                  <a:gd name="T48" fmla="*/ 52 w 62"/>
                  <a:gd name="T49" fmla="*/ 0 h 429"/>
                  <a:gd name="T50" fmla="*/ 53 w 62"/>
                  <a:gd name="T51" fmla="*/ 5 h 429"/>
                  <a:gd name="T52" fmla="*/ 59 w 62"/>
                  <a:gd name="T53" fmla="*/ 101 h 429"/>
                  <a:gd name="T54" fmla="*/ 61 w 62"/>
                  <a:gd name="T55" fmla="*/ 101 h 429"/>
                  <a:gd name="T56" fmla="*/ 54 w 62"/>
                  <a:gd name="T57" fmla="*/ 0 h 42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57" name="Freeform 213"/>
              <p:cNvSpPr>
                <a:spLocks/>
              </p:cNvSpPr>
              <p:nvPr/>
            </p:nvSpPr>
            <p:spPr bwMode="auto">
              <a:xfrm>
                <a:off x="-2702808" y="4871026"/>
                <a:ext cx="7825" cy="4920"/>
              </a:xfrm>
              <a:custGeom>
                <a:avLst/>
                <a:gdLst>
                  <a:gd name="T0" fmla="*/ 2 w 2"/>
                  <a:gd name="T1" fmla="*/ 0 h 1"/>
                  <a:gd name="T2" fmla="*/ 0 w 2"/>
                  <a:gd name="T3" fmla="*/ 0 h 1"/>
                  <a:gd name="T4" fmla="*/ 0 w 2"/>
                  <a:gd name="T5" fmla="*/ 1 h 1"/>
                  <a:gd name="T6" fmla="*/ 2 w 2"/>
                  <a:gd name="T7" fmla="*/ 1 h 1"/>
                  <a:gd name="T8" fmla="*/ 2 w 2"/>
                  <a:gd name="T9" fmla="*/ 0 h 1"/>
                  <a:gd name="T10" fmla="*/ 2 w 2"/>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58" name="Freeform 214"/>
              <p:cNvSpPr>
                <a:spLocks noEditPoints="1"/>
              </p:cNvSpPr>
              <p:nvPr/>
            </p:nvSpPr>
            <p:spPr bwMode="auto">
              <a:xfrm>
                <a:off x="-2955829" y="2418615"/>
                <a:ext cx="281713" cy="2954209"/>
              </a:xfrm>
              <a:custGeom>
                <a:avLst/>
                <a:gdLst>
                  <a:gd name="T0" fmla="*/ 39 w 75"/>
                  <a:gd name="T1" fmla="*/ 740 h 785"/>
                  <a:gd name="T2" fmla="*/ 37 w 75"/>
                  <a:gd name="T3" fmla="*/ 740 h 785"/>
                  <a:gd name="T4" fmla="*/ 19 w 75"/>
                  <a:gd name="T5" fmla="*/ 774 h 785"/>
                  <a:gd name="T6" fmla="*/ 19 w 75"/>
                  <a:gd name="T7" fmla="*/ 774 h 785"/>
                  <a:gd name="T8" fmla="*/ 15 w 75"/>
                  <a:gd name="T9" fmla="*/ 784 h 785"/>
                  <a:gd name="T10" fmla="*/ 16 w 75"/>
                  <a:gd name="T11" fmla="*/ 785 h 785"/>
                  <a:gd name="T12" fmla="*/ 21 w 75"/>
                  <a:gd name="T13" fmla="*/ 775 h 785"/>
                  <a:gd name="T14" fmla="*/ 21 w 75"/>
                  <a:gd name="T15" fmla="*/ 775 h 785"/>
                  <a:gd name="T16" fmla="*/ 22 w 75"/>
                  <a:gd name="T17" fmla="*/ 773 h 785"/>
                  <a:gd name="T18" fmla="*/ 21 w 75"/>
                  <a:gd name="T19" fmla="*/ 773 h 785"/>
                  <a:gd name="T20" fmla="*/ 21 w 75"/>
                  <a:gd name="T21" fmla="*/ 772 h 785"/>
                  <a:gd name="T22" fmla="*/ 22 w 75"/>
                  <a:gd name="T23" fmla="*/ 772 h 785"/>
                  <a:gd name="T24" fmla="*/ 39 w 75"/>
                  <a:gd name="T25" fmla="*/ 740 h 785"/>
                  <a:gd name="T26" fmla="*/ 49 w 75"/>
                  <a:gd name="T27" fmla="*/ 98 h 785"/>
                  <a:gd name="T28" fmla="*/ 47 w 75"/>
                  <a:gd name="T29" fmla="*/ 98 h 785"/>
                  <a:gd name="T30" fmla="*/ 73 w 75"/>
                  <a:gd name="T31" fmla="*/ 194 h 785"/>
                  <a:gd name="T32" fmla="*/ 75 w 75"/>
                  <a:gd name="T33" fmla="*/ 194 h 785"/>
                  <a:gd name="T34" fmla="*/ 49 w 75"/>
                  <a:gd name="T35" fmla="*/ 98 h 785"/>
                  <a:gd name="T36" fmla="*/ 1 w 75"/>
                  <a:gd name="T37" fmla="*/ 0 h 785"/>
                  <a:gd name="T38" fmla="*/ 0 w 75"/>
                  <a:gd name="T39" fmla="*/ 1 h 785"/>
                  <a:gd name="T40" fmla="*/ 1 w 75"/>
                  <a:gd name="T41" fmla="*/ 2 h 785"/>
                  <a:gd name="T42" fmla="*/ 47 w 75"/>
                  <a:gd name="T43" fmla="*/ 97 h 785"/>
                  <a:gd name="T44" fmla="*/ 49 w 75"/>
                  <a:gd name="T45" fmla="*/ 97 h 785"/>
                  <a:gd name="T46" fmla="*/ 1 w 75"/>
                  <a:gd name="T47" fmla="*/ 0 h 78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59" name="Freeform 215"/>
              <p:cNvSpPr>
                <a:spLocks/>
              </p:cNvSpPr>
              <p:nvPr/>
            </p:nvSpPr>
            <p:spPr bwMode="auto">
              <a:xfrm>
                <a:off x="-2775845" y="2785124"/>
                <a:ext cx="5217" cy="2459"/>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60" name="Freeform 216"/>
              <p:cNvSpPr>
                <a:spLocks/>
              </p:cNvSpPr>
              <p:nvPr/>
            </p:nvSpPr>
            <p:spPr bwMode="auto">
              <a:xfrm>
                <a:off x="-2614121" y="4460241"/>
                <a:ext cx="13041" cy="2461"/>
              </a:xfrm>
              <a:custGeom>
                <a:avLst/>
                <a:gdLst>
                  <a:gd name="T0" fmla="*/ 3 w 3"/>
                  <a:gd name="T1" fmla="*/ 0 h 1"/>
                  <a:gd name="T2" fmla="*/ 1 w 3"/>
                  <a:gd name="T3" fmla="*/ 0 h 1"/>
                  <a:gd name="T4" fmla="*/ 0 w 3"/>
                  <a:gd name="T5" fmla="*/ 1 h 1"/>
                  <a:gd name="T6" fmla="*/ 2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61" name="Freeform 217"/>
              <p:cNvSpPr>
                <a:spLocks/>
              </p:cNvSpPr>
              <p:nvPr/>
            </p:nvSpPr>
            <p:spPr bwMode="auto">
              <a:xfrm>
                <a:off x="-2814973" y="5200638"/>
                <a:ext cx="10434" cy="2459"/>
              </a:xfrm>
              <a:custGeom>
                <a:avLst/>
                <a:gdLst>
                  <a:gd name="T0" fmla="*/ 3 w 3"/>
                  <a:gd name="T1" fmla="*/ 0 h 1"/>
                  <a:gd name="T2" fmla="*/ 1 w 3"/>
                  <a:gd name="T3" fmla="*/ 0 h 1"/>
                  <a:gd name="T4" fmla="*/ 0 w 3"/>
                  <a:gd name="T5" fmla="*/ 1 h 1"/>
                  <a:gd name="T6" fmla="*/ 2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62" name="Freeform 218"/>
              <p:cNvSpPr>
                <a:spLocks/>
              </p:cNvSpPr>
              <p:nvPr/>
            </p:nvSpPr>
            <p:spPr bwMode="auto">
              <a:xfrm>
                <a:off x="-2874966" y="5323628"/>
                <a:ext cx="5217" cy="4920"/>
              </a:xfrm>
              <a:custGeom>
                <a:avLst/>
                <a:gdLst>
                  <a:gd name="T0" fmla="*/ 1 w 1"/>
                  <a:gd name="T1" fmla="*/ 0 h 1"/>
                  <a:gd name="T2" fmla="*/ 0 w 1"/>
                  <a:gd name="T3" fmla="*/ 0 h 1"/>
                  <a:gd name="T4" fmla="*/ 0 w 1"/>
                  <a:gd name="T5" fmla="*/ 1 h 1"/>
                  <a:gd name="T6" fmla="*/ 1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63" name="Freeform 219"/>
              <p:cNvSpPr>
                <a:spLocks/>
              </p:cNvSpPr>
              <p:nvPr/>
            </p:nvSpPr>
            <p:spPr bwMode="auto">
              <a:xfrm>
                <a:off x="-2590646" y="3965824"/>
                <a:ext cx="7826" cy="4920"/>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64" name="Freeform 220"/>
              <p:cNvSpPr>
                <a:spLocks/>
              </p:cNvSpPr>
              <p:nvPr/>
            </p:nvSpPr>
            <p:spPr bwMode="auto">
              <a:xfrm>
                <a:off x="-2616730" y="3582096"/>
                <a:ext cx="7826" cy="4920"/>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65" name="Freeform 221"/>
              <p:cNvSpPr>
                <a:spLocks/>
              </p:cNvSpPr>
              <p:nvPr/>
            </p:nvSpPr>
            <p:spPr bwMode="auto">
              <a:xfrm>
                <a:off x="-5801654" y="3149173"/>
                <a:ext cx="10434" cy="2459"/>
              </a:xfrm>
              <a:custGeom>
                <a:avLst/>
                <a:gdLst>
                  <a:gd name="T0" fmla="*/ 3 w 3"/>
                  <a:gd name="T1" fmla="*/ 0 h 1"/>
                  <a:gd name="T2" fmla="*/ 0 w 3"/>
                  <a:gd name="T3" fmla="*/ 0 h 1"/>
                  <a:gd name="T4" fmla="*/ 0 w 3"/>
                  <a:gd name="T5" fmla="*/ 1 h 1"/>
                  <a:gd name="T6" fmla="*/ 2 w 3"/>
                  <a:gd name="T7" fmla="*/ 1 h 1"/>
                  <a:gd name="T8" fmla="*/ 2 w 3"/>
                  <a:gd name="T9" fmla="*/ 1 h 1"/>
                  <a:gd name="T10" fmla="*/ 2 w 3"/>
                  <a:gd name="T11" fmla="*/ 0 h 1"/>
                  <a:gd name="T12" fmla="*/ 2 w 3"/>
                  <a:gd name="T13" fmla="*/ 0 h 1"/>
                  <a:gd name="T14" fmla="*/ 3 w 3"/>
                  <a:gd name="T15" fmla="*/ 0 h 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66" name="Freeform 222"/>
              <p:cNvSpPr>
                <a:spLocks/>
              </p:cNvSpPr>
              <p:nvPr/>
            </p:nvSpPr>
            <p:spPr bwMode="auto">
              <a:xfrm>
                <a:off x="-5566893" y="3149173"/>
                <a:ext cx="10434" cy="2459"/>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67" name="Freeform 223"/>
              <p:cNvSpPr>
                <a:spLocks/>
              </p:cNvSpPr>
              <p:nvPr/>
            </p:nvSpPr>
            <p:spPr bwMode="auto">
              <a:xfrm>
                <a:off x="-5326915" y="3149173"/>
                <a:ext cx="7825" cy="2459"/>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68" name="Freeform 224"/>
              <p:cNvSpPr>
                <a:spLocks/>
              </p:cNvSpPr>
              <p:nvPr/>
            </p:nvSpPr>
            <p:spPr bwMode="auto">
              <a:xfrm>
                <a:off x="-5081720" y="3149173"/>
                <a:ext cx="5217" cy="2459"/>
              </a:xfrm>
              <a:custGeom>
                <a:avLst/>
                <a:gdLst>
                  <a:gd name="T0" fmla="*/ 0 w 3"/>
                  <a:gd name="T1" fmla="*/ 0 h 2"/>
                  <a:gd name="T2" fmla="*/ 0 w 3"/>
                  <a:gd name="T3" fmla="*/ 0 h 2"/>
                  <a:gd name="T4" fmla="*/ 0 w 3"/>
                  <a:gd name="T5" fmla="*/ 2 h 2"/>
                  <a:gd name="T6" fmla="*/ 3 w 3"/>
                  <a:gd name="T7" fmla="*/ 2 h 2"/>
                  <a:gd name="T8" fmla="*/ 0 w 3"/>
                  <a:gd name="T9" fmla="*/ 0 h 2"/>
                  <a:gd name="T10" fmla="*/ 0 w 3"/>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2">
                    <a:moveTo>
                      <a:pt x="0" y="0"/>
                    </a:moveTo>
                    <a:lnTo>
                      <a:pt x="0" y="0"/>
                    </a:lnTo>
                    <a:lnTo>
                      <a:pt x="0" y="2"/>
                    </a:lnTo>
                    <a:lnTo>
                      <a:pt x="3" y="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69" name="Freeform 225"/>
              <p:cNvSpPr>
                <a:spLocks/>
              </p:cNvSpPr>
              <p:nvPr/>
            </p:nvSpPr>
            <p:spPr bwMode="auto">
              <a:xfrm>
                <a:off x="-4836525" y="3149173"/>
                <a:ext cx="5217" cy="2459"/>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70" name="Freeform 226"/>
              <p:cNvSpPr>
                <a:spLocks/>
              </p:cNvSpPr>
              <p:nvPr/>
            </p:nvSpPr>
            <p:spPr bwMode="auto">
              <a:xfrm>
                <a:off x="-4609590" y="3149173"/>
                <a:ext cx="7826" cy="2459"/>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71" name="Freeform 227"/>
              <p:cNvSpPr>
                <a:spLocks/>
              </p:cNvSpPr>
              <p:nvPr/>
            </p:nvSpPr>
            <p:spPr bwMode="auto">
              <a:xfrm>
                <a:off x="-1956790" y="3149173"/>
                <a:ext cx="7825" cy="2459"/>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72" name="Freeform 228"/>
              <p:cNvSpPr>
                <a:spLocks/>
              </p:cNvSpPr>
              <p:nvPr/>
            </p:nvSpPr>
            <p:spPr bwMode="auto">
              <a:xfrm>
                <a:off x="-3641852" y="3149173"/>
                <a:ext cx="5217" cy="2459"/>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73" name="Freeform 229"/>
              <p:cNvSpPr>
                <a:spLocks/>
              </p:cNvSpPr>
              <p:nvPr/>
            </p:nvSpPr>
            <p:spPr bwMode="auto">
              <a:xfrm>
                <a:off x="-3422742" y="3149173"/>
                <a:ext cx="13041" cy="2459"/>
              </a:xfrm>
              <a:custGeom>
                <a:avLst/>
                <a:gdLst>
                  <a:gd name="T0" fmla="*/ 3 w 3"/>
                  <a:gd name="T1" fmla="*/ 0 h 1"/>
                  <a:gd name="T2" fmla="*/ 1 w 3"/>
                  <a:gd name="T3" fmla="*/ 0 h 1"/>
                  <a:gd name="T4" fmla="*/ 0 w 3"/>
                  <a:gd name="T5" fmla="*/ 1 h 1"/>
                  <a:gd name="T6" fmla="*/ 3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74" name="Freeform 230"/>
              <p:cNvSpPr>
                <a:spLocks/>
              </p:cNvSpPr>
              <p:nvPr/>
            </p:nvSpPr>
            <p:spPr bwMode="auto">
              <a:xfrm>
                <a:off x="-3172330" y="3149173"/>
                <a:ext cx="7825" cy="2459"/>
              </a:xfrm>
              <a:custGeom>
                <a:avLst/>
                <a:gdLst>
                  <a:gd name="T0" fmla="*/ 4 w 4"/>
                  <a:gd name="T1" fmla="*/ 0 h 2"/>
                  <a:gd name="T2" fmla="*/ 0 w 4"/>
                  <a:gd name="T3" fmla="*/ 0 h 2"/>
                  <a:gd name="T4" fmla="*/ 0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75" name="Freeform 231"/>
              <p:cNvSpPr>
                <a:spLocks/>
              </p:cNvSpPr>
              <p:nvPr/>
            </p:nvSpPr>
            <p:spPr bwMode="auto">
              <a:xfrm>
                <a:off x="-2921919" y="3149173"/>
                <a:ext cx="10434" cy="2459"/>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76" name="Freeform 232"/>
              <p:cNvSpPr>
                <a:spLocks/>
              </p:cNvSpPr>
              <p:nvPr/>
            </p:nvSpPr>
            <p:spPr bwMode="auto">
              <a:xfrm>
                <a:off x="-2400227" y="3149173"/>
                <a:ext cx="5217" cy="2459"/>
              </a:xfrm>
              <a:custGeom>
                <a:avLst/>
                <a:gdLst>
                  <a:gd name="T0" fmla="*/ 1 w 1"/>
                  <a:gd name="T1" fmla="*/ 0 h 1"/>
                  <a:gd name="T2" fmla="*/ 0 w 1"/>
                  <a:gd name="T3" fmla="*/ 0 h 1"/>
                  <a:gd name="T4" fmla="*/ 0 w 1"/>
                  <a:gd name="T5" fmla="*/ 1 h 1"/>
                  <a:gd name="T6" fmla="*/ 1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77" name="Freeform 233"/>
              <p:cNvSpPr>
                <a:spLocks/>
              </p:cNvSpPr>
              <p:nvPr/>
            </p:nvSpPr>
            <p:spPr bwMode="auto">
              <a:xfrm>
                <a:off x="-2186334" y="3149173"/>
                <a:ext cx="10434" cy="2459"/>
              </a:xfrm>
              <a:custGeom>
                <a:avLst/>
                <a:gdLst>
                  <a:gd name="T0" fmla="*/ 3 w 3"/>
                  <a:gd name="T1" fmla="*/ 0 h 1"/>
                  <a:gd name="T2" fmla="*/ 0 w 3"/>
                  <a:gd name="T3" fmla="*/ 0 h 1"/>
                  <a:gd name="T4" fmla="*/ 1 w 3"/>
                  <a:gd name="T5" fmla="*/ 1 h 1"/>
                  <a:gd name="T6" fmla="*/ 3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78" name="Freeform 234"/>
              <p:cNvSpPr>
                <a:spLocks/>
              </p:cNvSpPr>
              <p:nvPr/>
            </p:nvSpPr>
            <p:spPr bwMode="auto">
              <a:xfrm>
                <a:off x="-1515962" y="3149173"/>
                <a:ext cx="10434" cy="2459"/>
              </a:xfrm>
              <a:custGeom>
                <a:avLst/>
                <a:gdLst>
                  <a:gd name="T0" fmla="*/ 2 w 3"/>
                  <a:gd name="T1" fmla="*/ 0 h 1"/>
                  <a:gd name="T2" fmla="*/ 0 w 3"/>
                  <a:gd name="T3" fmla="*/ 0 h 1"/>
                  <a:gd name="T4" fmla="*/ 0 w 3"/>
                  <a:gd name="T5" fmla="*/ 1 h 1"/>
                  <a:gd name="T6" fmla="*/ 3 w 3"/>
                  <a:gd name="T7" fmla="*/ 1 h 1"/>
                  <a:gd name="T8" fmla="*/ 2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79" name="Freeform 235"/>
              <p:cNvSpPr>
                <a:spLocks/>
              </p:cNvSpPr>
              <p:nvPr/>
            </p:nvSpPr>
            <p:spPr bwMode="auto">
              <a:xfrm>
                <a:off x="-1748114" y="3149173"/>
                <a:ext cx="10434" cy="2459"/>
              </a:xfrm>
              <a:custGeom>
                <a:avLst/>
                <a:gdLst>
                  <a:gd name="T0" fmla="*/ 3 w 3"/>
                  <a:gd name="T1" fmla="*/ 0 h 1"/>
                  <a:gd name="T2" fmla="*/ 0 w 3"/>
                  <a:gd name="T3" fmla="*/ 0 h 1"/>
                  <a:gd name="T4" fmla="*/ 1 w 3"/>
                  <a:gd name="T5" fmla="*/ 1 h 1"/>
                  <a:gd name="T6" fmla="*/ 3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80" name="Freeform 236"/>
              <p:cNvSpPr>
                <a:spLocks/>
              </p:cNvSpPr>
              <p:nvPr/>
            </p:nvSpPr>
            <p:spPr bwMode="auto">
              <a:xfrm>
                <a:off x="-2681941" y="3149173"/>
                <a:ext cx="7825" cy="2459"/>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81" name="Freeform 237"/>
              <p:cNvSpPr>
                <a:spLocks noEditPoints="1"/>
              </p:cNvSpPr>
              <p:nvPr/>
            </p:nvSpPr>
            <p:spPr bwMode="auto">
              <a:xfrm>
                <a:off x="-6346822" y="2366960"/>
                <a:ext cx="5613397" cy="3281360"/>
              </a:xfrm>
              <a:custGeom>
                <a:avLst/>
                <a:gdLst>
                  <a:gd name="T0" fmla="*/ 215 w 1494"/>
                  <a:gd name="T1" fmla="*/ 38 h 872"/>
                  <a:gd name="T2" fmla="*/ 535 w 1494"/>
                  <a:gd name="T3" fmla="*/ 111 h 872"/>
                  <a:gd name="T4" fmla="*/ 485 w 1494"/>
                  <a:gd name="T5" fmla="*/ 112 h 872"/>
                  <a:gd name="T6" fmla="*/ 527 w 1494"/>
                  <a:gd name="T7" fmla="*/ 211 h 872"/>
                  <a:gd name="T8" fmla="*/ 575 w 1494"/>
                  <a:gd name="T9" fmla="*/ 331 h 872"/>
                  <a:gd name="T10" fmla="*/ 605 w 1494"/>
                  <a:gd name="T11" fmla="*/ 324 h 872"/>
                  <a:gd name="T12" fmla="*/ 651 w 1494"/>
                  <a:gd name="T13" fmla="*/ 221 h 872"/>
                  <a:gd name="T14" fmla="*/ 704 w 1494"/>
                  <a:gd name="T15" fmla="*/ 118 h 872"/>
                  <a:gd name="T16" fmla="*/ 688 w 1494"/>
                  <a:gd name="T17" fmla="*/ 109 h 872"/>
                  <a:gd name="T18" fmla="*/ 894 w 1494"/>
                  <a:gd name="T19" fmla="*/ 6 h 872"/>
                  <a:gd name="T20" fmla="*/ 1266 w 1494"/>
                  <a:gd name="T21" fmla="*/ 104 h 872"/>
                  <a:gd name="T22" fmla="*/ 1344 w 1494"/>
                  <a:gd name="T23" fmla="*/ 208 h 872"/>
                  <a:gd name="T24" fmla="*/ 1450 w 1494"/>
                  <a:gd name="T25" fmla="*/ 323 h 872"/>
                  <a:gd name="T26" fmla="*/ 1492 w 1494"/>
                  <a:gd name="T27" fmla="*/ 475 h 872"/>
                  <a:gd name="T28" fmla="*/ 1467 w 1494"/>
                  <a:gd name="T29" fmla="*/ 667 h 872"/>
                  <a:gd name="T30" fmla="*/ 1428 w 1494"/>
                  <a:gd name="T31" fmla="*/ 807 h 872"/>
                  <a:gd name="T32" fmla="*/ 1219 w 1494"/>
                  <a:gd name="T33" fmla="*/ 787 h 872"/>
                  <a:gd name="T34" fmla="*/ 1138 w 1494"/>
                  <a:gd name="T35" fmla="*/ 666 h 872"/>
                  <a:gd name="T36" fmla="*/ 1104 w 1494"/>
                  <a:gd name="T37" fmla="*/ 556 h 872"/>
                  <a:gd name="T38" fmla="*/ 1085 w 1494"/>
                  <a:gd name="T39" fmla="*/ 446 h 872"/>
                  <a:gd name="T40" fmla="*/ 1057 w 1494"/>
                  <a:gd name="T41" fmla="*/ 579 h 872"/>
                  <a:gd name="T42" fmla="*/ 1023 w 1494"/>
                  <a:gd name="T43" fmla="*/ 667 h 872"/>
                  <a:gd name="T44" fmla="*/ 958 w 1494"/>
                  <a:gd name="T45" fmla="*/ 787 h 872"/>
                  <a:gd name="T46" fmla="*/ 749 w 1494"/>
                  <a:gd name="T47" fmla="*/ 787 h 872"/>
                  <a:gd name="T48" fmla="*/ 712 w 1494"/>
                  <a:gd name="T49" fmla="*/ 667 h 872"/>
                  <a:gd name="T50" fmla="*/ 679 w 1494"/>
                  <a:gd name="T51" fmla="*/ 557 h 872"/>
                  <a:gd name="T52" fmla="*/ 669 w 1494"/>
                  <a:gd name="T53" fmla="*/ 459 h 872"/>
                  <a:gd name="T54" fmla="*/ 625 w 1494"/>
                  <a:gd name="T55" fmla="*/ 668 h 872"/>
                  <a:gd name="T56" fmla="*/ 584 w 1494"/>
                  <a:gd name="T57" fmla="*/ 786 h 872"/>
                  <a:gd name="T58" fmla="*/ 502 w 1494"/>
                  <a:gd name="T59" fmla="*/ 863 h 872"/>
                  <a:gd name="T60" fmla="*/ 417 w 1494"/>
                  <a:gd name="T61" fmla="*/ 787 h 872"/>
                  <a:gd name="T62" fmla="*/ 403 w 1494"/>
                  <a:gd name="T63" fmla="*/ 753 h 872"/>
                  <a:gd name="T64" fmla="*/ 353 w 1494"/>
                  <a:gd name="T65" fmla="*/ 578 h 872"/>
                  <a:gd name="T66" fmla="*/ 339 w 1494"/>
                  <a:gd name="T67" fmla="*/ 435 h 872"/>
                  <a:gd name="T68" fmla="*/ 319 w 1494"/>
                  <a:gd name="T69" fmla="*/ 557 h 872"/>
                  <a:gd name="T70" fmla="*/ 270 w 1494"/>
                  <a:gd name="T71" fmla="*/ 668 h 872"/>
                  <a:gd name="T72" fmla="*/ 214 w 1494"/>
                  <a:gd name="T73" fmla="*/ 785 h 872"/>
                  <a:gd name="T74" fmla="*/ 46 w 1494"/>
                  <a:gd name="T75" fmla="*/ 785 h 872"/>
                  <a:gd name="T76" fmla="*/ 28 w 1494"/>
                  <a:gd name="T77" fmla="*/ 667 h 872"/>
                  <a:gd name="T78" fmla="*/ 10 w 1494"/>
                  <a:gd name="T79" fmla="*/ 574 h 872"/>
                  <a:gd name="T80" fmla="*/ 1 w 1494"/>
                  <a:gd name="T81" fmla="*/ 452 h 872"/>
                  <a:gd name="T82" fmla="*/ 23 w 1494"/>
                  <a:gd name="T83" fmla="*/ 324 h 872"/>
                  <a:gd name="T84" fmla="*/ 29 w 1494"/>
                  <a:gd name="T85" fmla="*/ 309 h 872"/>
                  <a:gd name="T86" fmla="*/ 84 w 1494"/>
                  <a:gd name="T87" fmla="*/ 209 h 872"/>
                  <a:gd name="T88" fmla="*/ 162 w 1494"/>
                  <a:gd name="T89" fmla="*/ 81 h 872"/>
                  <a:gd name="T90" fmla="*/ 214 w 1494"/>
                  <a:gd name="T91" fmla="*/ 36 h 872"/>
                  <a:gd name="T92" fmla="*/ 23 w 1494"/>
                  <a:gd name="T93" fmla="*/ 318 h 872"/>
                  <a:gd name="T94" fmla="*/ 38 w 1494"/>
                  <a:gd name="T95" fmla="*/ 769 h 872"/>
                  <a:gd name="T96" fmla="*/ 273 w 1494"/>
                  <a:gd name="T97" fmla="*/ 667 h 872"/>
                  <a:gd name="T98" fmla="*/ 464 w 1494"/>
                  <a:gd name="T99" fmla="*/ 848 h 872"/>
                  <a:gd name="T100" fmla="*/ 590 w 1494"/>
                  <a:gd name="T101" fmla="*/ 776 h 872"/>
                  <a:gd name="T102" fmla="*/ 899 w 1494"/>
                  <a:gd name="T103" fmla="*/ 852 h 872"/>
                  <a:gd name="T104" fmla="*/ 1345 w 1494"/>
                  <a:gd name="T105" fmla="*/ 872 h 872"/>
                  <a:gd name="T106" fmla="*/ 1474 w 1494"/>
                  <a:gd name="T107" fmla="*/ 366 h 872"/>
                  <a:gd name="T108" fmla="*/ 1236 w 1494"/>
                  <a:gd name="T109" fmla="*/ 87 h 872"/>
                  <a:gd name="T110" fmla="*/ 742 w 1494"/>
                  <a:gd name="T111" fmla="*/ 53 h 872"/>
                  <a:gd name="T112" fmla="*/ 577 w 1494"/>
                  <a:gd name="T113" fmla="*/ 331 h 8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82" name="Freeform 238"/>
              <p:cNvSpPr>
                <a:spLocks noEditPoints="1"/>
              </p:cNvSpPr>
              <p:nvPr/>
            </p:nvSpPr>
            <p:spPr bwMode="auto">
              <a:xfrm>
                <a:off x="-4912171" y="4871026"/>
                <a:ext cx="918176" cy="4920"/>
              </a:xfrm>
              <a:custGeom>
                <a:avLst/>
                <a:gdLst>
                  <a:gd name="T0" fmla="*/ 0 w 244"/>
                  <a:gd name="T1" fmla="*/ 0 h 1"/>
                  <a:gd name="T2" fmla="*/ 0 w 244"/>
                  <a:gd name="T3" fmla="*/ 0 h 1"/>
                  <a:gd name="T4" fmla="*/ 0 w 244"/>
                  <a:gd name="T5" fmla="*/ 1 h 1"/>
                  <a:gd name="T6" fmla="*/ 1 w 244"/>
                  <a:gd name="T7" fmla="*/ 1 h 1"/>
                  <a:gd name="T8" fmla="*/ 1 w 244"/>
                  <a:gd name="T9" fmla="*/ 0 h 1"/>
                  <a:gd name="T10" fmla="*/ 1 w 244"/>
                  <a:gd name="T11" fmla="*/ 0 h 1"/>
                  <a:gd name="T12" fmla="*/ 1 w 244"/>
                  <a:gd name="T13" fmla="*/ 0 h 1"/>
                  <a:gd name="T14" fmla="*/ 0 w 244"/>
                  <a:gd name="T15" fmla="*/ 0 h 1"/>
                  <a:gd name="T16" fmla="*/ 244 w 244"/>
                  <a:gd name="T17" fmla="*/ 0 h 1"/>
                  <a:gd name="T18" fmla="*/ 243 w 244"/>
                  <a:gd name="T19" fmla="*/ 0 h 1"/>
                  <a:gd name="T20" fmla="*/ 243 w 244"/>
                  <a:gd name="T21" fmla="*/ 0 h 1"/>
                  <a:gd name="T22" fmla="*/ 243 w 244"/>
                  <a:gd name="T23" fmla="*/ 0 h 1"/>
                  <a:gd name="T24" fmla="*/ 243 w 244"/>
                  <a:gd name="T25" fmla="*/ 0 h 1"/>
                  <a:gd name="T26" fmla="*/ 243 w 244"/>
                  <a:gd name="T27" fmla="*/ 1 h 1"/>
                  <a:gd name="T28" fmla="*/ 244 w 244"/>
                  <a:gd name="T29" fmla="*/ 1 h 1"/>
                  <a:gd name="T30" fmla="*/ 244 w 244"/>
                  <a:gd name="T31" fmla="*/ 0 h 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83" name="Freeform 239"/>
              <p:cNvSpPr>
                <a:spLocks noEditPoints="1"/>
              </p:cNvSpPr>
              <p:nvPr/>
            </p:nvSpPr>
            <p:spPr bwMode="auto">
              <a:xfrm>
                <a:off x="-3673154" y="4871026"/>
                <a:ext cx="1173805" cy="4920"/>
              </a:xfrm>
              <a:custGeom>
                <a:avLst/>
                <a:gdLst>
                  <a:gd name="T0" fmla="*/ 1 w 312"/>
                  <a:gd name="T1" fmla="*/ 0 h 1"/>
                  <a:gd name="T2" fmla="*/ 0 w 312"/>
                  <a:gd name="T3" fmla="*/ 0 h 1"/>
                  <a:gd name="T4" fmla="*/ 0 w 312"/>
                  <a:gd name="T5" fmla="*/ 1 h 1"/>
                  <a:gd name="T6" fmla="*/ 1 w 312"/>
                  <a:gd name="T7" fmla="*/ 1 h 1"/>
                  <a:gd name="T8" fmla="*/ 1 w 312"/>
                  <a:gd name="T9" fmla="*/ 0 h 1"/>
                  <a:gd name="T10" fmla="*/ 1 w 312"/>
                  <a:gd name="T11" fmla="*/ 0 h 1"/>
                  <a:gd name="T12" fmla="*/ 1 w 312"/>
                  <a:gd name="T13" fmla="*/ 0 h 1"/>
                  <a:gd name="T14" fmla="*/ 1 w 312"/>
                  <a:gd name="T15" fmla="*/ 0 h 1"/>
                  <a:gd name="T16" fmla="*/ 312 w 312"/>
                  <a:gd name="T17" fmla="*/ 0 h 1"/>
                  <a:gd name="T18" fmla="*/ 311 w 312"/>
                  <a:gd name="T19" fmla="*/ 0 h 1"/>
                  <a:gd name="T20" fmla="*/ 311 w 312"/>
                  <a:gd name="T21" fmla="*/ 1 h 1"/>
                  <a:gd name="T22" fmla="*/ 312 w 312"/>
                  <a:gd name="T23" fmla="*/ 1 h 1"/>
                  <a:gd name="T24" fmla="*/ 312 w 312"/>
                  <a:gd name="T25" fmla="*/ 0 h 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84" name="Freeform 240"/>
              <p:cNvSpPr>
                <a:spLocks noEditPoints="1"/>
              </p:cNvSpPr>
              <p:nvPr/>
            </p:nvSpPr>
            <p:spPr bwMode="auto">
              <a:xfrm>
                <a:off x="-2071562" y="4871026"/>
                <a:ext cx="1239016" cy="4920"/>
              </a:xfrm>
              <a:custGeom>
                <a:avLst/>
                <a:gdLst>
                  <a:gd name="T0" fmla="*/ 1 w 330"/>
                  <a:gd name="T1" fmla="*/ 0 h 1"/>
                  <a:gd name="T2" fmla="*/ 0 w 330"/>
                  <a:gd name="T3" fmla="*/ 0 h 1"/>
                  <a:gd name="T4" fmla="*/ 0 w 330"/>
                  <a:gd name="T5" fmla="*/ 1 h 1"/>
                  <a:gd name="T6" fmla="*/ 1 w 330"/>
                  <a:gd name="T7" fmla="*/ 1 h 1"/>
                  <a:gd name="T8" fmla="*/ 1 w 330"/>
                  <a:gd name="T9" fmla="*/ 0 h 1"/>
                  <a:gd name="T10" fmla="*/ 330 w 330"/>
                  <a:gd name="T11" fmla="*/ 0 h 1"/>
                  <a:gd name="T12" fmla="*/ 329 w 330"/>
                  <a:gd name="T13" fmla="*/ 0 h 1"/>
                  <a:gd name="T14" fmla="*/ 329 w 330"/>
                  <a:gd name="T15" fmla="*/ 1 h 1"/>
                  <a:gd name="T16" fmla="*/ 330 w 330"/>
                  <a:gd name="T17" fmla="*/ 1 h 1"/>
                  <a:gd name="T18" fmla="*/ 330 w 330"/>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85" name="Freeform 241"/>
              <p:cNvSpPr>
                <a:spLocks noEditPoints="1"/>
              </p:cNvSpPr>
              <p:nvPr/>
            </p:nvSpPr>
            <p:spPr bwMode="auto">
              <a:xfrm>
                <a:off x="-6245091" y="4871026"/>
                <a:ext cx="918176" cy="4920"/>
              </a:xfrm>
              <a:custGeom>
                <a:avLst/>
                <a:gdLst>
                  <a:gd name="T0" fmla="*/ 1 w 245"/>
                  <a:gd name="T1" fmla="*/ 0 h 1"/>
                  <a:gd name="T2" fmla="*/ 0 w 245"/>
                  <a:gd name="T3" fmla="*/ 0 h 1"/>
                  <a:gd name="T4" fmla="*/ 0 w 245"/>
                  <a:gd name="T5" fmla="*/ 1 h 1"/>
                  <a:gd name="T6" fmla="*/ 1 w 245"/>
                  <a:gd name="T7" fmla="*/ 1 h 1"/>
                  <a:gd name="T8" fmla="*/ 1 w 245"/>
                  <a:gd name="T9" fmla="*/ 0 h 1"/>
                  <a:gd name="T10" fmla="*/ 1 w 245"/>
                  <a:gd name="T11" fmla="*/ 0 h 1"/>
                  <a:gd name="T12" fmla="*/ 1 w 245"/>
                  <a:gd name="T13" fmla="*/ 0 h 1"/>
                  <a:gd name="T14" fmla="*/ 1 w 245"/>
                  <a:gd name="T15" fmla="*/ 0 h 1"/>
                  <a:gd name="T16" fmla="*/ 245 w 245"/>
                  <a:gd name="T17" fmla="*/ 0 h 1"/>
                  <a:gd name="T18" fmla="*/ 244 w 245"/>
                  <a:gd name="T19" fmla="*/ 0 h 1"/>
                  <a:gd name="T20" fmla="*/ 244 w 245"/>
                  <a:gd name="T21" fmla="*/ 0 h 1"/>
                  <a:gd name="T22" fmla="*/ 244 w 245"/>
                  <a:gd name="T23" fmla="*/ 0 h 1"/>
                  <a:gd name="T24" fmla="*/ 244 w 245"/>
                  <a:gd name="T25" fmla="*/ 0 h 1"/>
                  <a:gd name="T26" fmla="*/ 243 w 245"/>
                  <a:gd name="T27" fmla="*/ 1 h 1"/>
                  <a:gd name="T28" fmla="*/ 245 w 245"/>
                  <a:gd name="T29" fmla="*/ 1 h 1"/>
                  <a:gd name="T30" fmla="*/ 245 w 245"/>
                  <a:gd name="T31" fmla="*/ 0 h 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86" name="Freeform 242"/>
              <p:cNvSpPr>
                <a:spLocks/>
              </p:cNvSpPr>
              <p:nvPr/>
            </p:nvSpPr>
            <p:spPr bwMode="auto">
              <a:xfrm>
                <a:off x="-5021726" y="4541414"/>
                <a:ext cx="7826" cy="2459"/>
              </a:xfrm>
              <a:custGeom>
                <a:avLst/>
                <a:gdLst>
                  <a:gd name="T0" fmla="*/ 1 w 2"/>
                  <a:gd name="T1" fmla="*/ 0 h 1"/>
                  <a:gd name="T2" fmla="*/ 0 w 2"/>
                  <a:gd name="T3" fmla="*/ 0 h 1"/>
                  <a:gd name="T4" fmla="*/ 0 w 2"/>
                  <a:gd name="T5" fmla="*/ 1 h 1"/>
                  <a:gd name="T6" fmla="*/ 2 w 2"/>
                  <a:gd name="T7" fmla="*/ 1 h 1"/>
                  <a:gd name="T8" fmla="*/ 1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87" name="Freeform 243"/>
              <p:cNvSpPr>
                <a:spLocks noEditPoints="1"/>
              </p:cNvSpPr>
              <p:nvPr/>
            </p:nvSpPr>
            <p:spPr bwMode="auto">
              <a:xfrm>
                <a:off x="-3780101" y="4541414"/>
                <a:ext cx="1408566" cy="2459"/>
              </a:xfrm>
              <a:custGeom>
                <a:avLst/>
                <a:gdLst>
                  <a:gd name="T0" fmla="*/ 1 w 375"/>
                  <a:gd name="T1" fmla="*/ 0 h 1"/>
                  <a:gd name="T2" fmla="*/ 0 w 375"/>
                  <a:gd name="T3" fmla="*/ 0 h 1"/>
                  <a:gd name="T4" fmla="*/ 0 w 375"/>
                  <a:gd name="T5" fmla="*/ 1 h 1"/>
                  <a:gd name="T6" fmla="*/ 1 w 375"/>
                  <a:gd name="T7" fmla="*/ 1 h 1"/>
                  <a:gd name="T8" fmla="*/ 1 w 375"/>
                  <a:gd name="T9" fmla="*/ 0 h 1"/>
                  <a:gd name="T10" fmla="*/ 375 w 375"/>
                  <a:gd name="T11" fmla="*/ 0 h 1"/>
                  <a:gd name="T12" fmla="*/ 375 w 375"/>
                  <a:gd name="T13" fmla="*/ 0 h 1"/>
                  <a:gd name="T14" fmla="*/ 374 w 375"/>
                  <a:gd name="T15" fmla="*/ 1 h 1"/>
                  <a:gd name="T16" fmla="*/ 374 w 375"/>
                  <a:gd name="T17" fmla="*/ 1 h 1"/>
                  <a:gd name="T18" fmla="*/ 375 w 375"/>
                  <a:gd name="T19" fmla="*/ 1 h 1"/>
                  <a:gd name="T20" fmla="*/ 375 w 375"/>
                  <a:gd name="T21" fmla="*/ 0 h 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88" name="Freeform 244"/>
              <p:cNvSpPr>
                <a:spLocks/>
              </p:cNvSpPr>
              <p:nvPr/>
            </p:nvSpPr>
            <p:spPr bwMode="auto">
              <a:xfrm>
                <a:off x="-2175900" y="4541414"/>
                <a:ext cx="0" cy="2459"/>
              </a:xfrm>
              <a:custGeom>
                <a:avLst/>
                <a:gdLst>
                  <a:gd name="T0" fmla="*/ 0 h 1"/>
                  <a:gd name="T1" fmla="*/ 0 h 1"/>
                  <a:gd name="T2" fmla="*/ 1 h 1"/>
                  <a:gd name="T3" fmla="*/ 1 h 1"/>
                  <a:gd name="T4" fmla="*/ 0 h 1"/>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89" name="Freeform 245"/>
              <p:cNvSpPr>
                <a:spLocks/>
              </p:cNvSpPr>
              <p:nvPr/>
            </p:nvSpPr>
            <p:spPr bwMode="auto">
              <a:xfrm>
                <a:off x="-6310304" y="4541414"/>
                <a:ext cx="5217" cy="2459"/>
              </a:xfrm>
              <a:custGeom>
                <a:avLst/>
                <a:gdLst>
                  <a:gd name="T0" fmla="*/ 0 w 1"/>
                  <a:gd name="T1" fmla="*/ 0 h 1"/>
                  <a:gd name="T2" fmla="*/ 0 w 1"/>
                  <a:gd name="T3" fmla="*/ 0 h 1"/>
                  <a:gd name="T4" fmla="*/ 0 w 1"/>
                  <a:gd name="T5" fmla="*/ 1 h 1"/>
                  <a:gd name="T6" fmla="*/ 1 w 1"/>
                  <a:gd name="T7" fmla="*/ 1 h 1"/>
                  <a:gd name="T8" fmla="*/ 0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90" name="Freeform 246"/>
              <p:cNvSpPr>
                <a:spLocks noEditPoints="1"/>
              </p:cNvSpPr>
              <p:nvPr/>
            </p:nvSpPr>
            <p:spPr bwMode="auto">
              <a:xfrm>
                <a:off x="-4061815" y="3527981"/>
                <a:ext cx="3132756" cy="4920"/>
              </a:xfrm>
              <a:custGeom>
                <a:avLst/>
                <a:gdLst>
                  <a:gd name="T0" fmla="*/ 1 w 834"/>
                  <a:gd name="T1" fmla="*/ 0 h 1"/>
                  <a:gd name="T2" fmla="*/ 0 w 834"/>
                  <a:gd name="T3" fmla="*/ 0 h 1"/>
                  <a:gd name="T4" fmla="*/ 0 w 834"/>
                  <a:gd name="T5" fmla="*/ 1 h 1"/>
                  <a:gd name="T6" fmla="*/ 1 w 834"/>
                  <a:gd name="T7" fmla="*/ 1 h 1"/>
                  <a:gd name="T8" fmla="*/ 1 w 834"/>
                  <a:gd name="T9" fmla="*/ 0 h 1"/>
                  <a:gd name="T10" fmla="*/ 834 w 834"/>
                  <a:gd name="T11" fmla="*/ 0 h 1"/>
                  <a:gd name="T12" fmla="*/ 832 w 834"/>
                  <a:gd name="T13" fmla="*/ 0 h 1"/>
                  <a:gd name="T14" fmla="*/ 833 w 834"/>
                  <a:gd name="T15" fmla="*/ 1 h 1"/>
                  <a:gd name="T16" fmla="*/ 834 w 834"/>
                  <a:gd name="T17" fmla="*/ 1 h 1"/>
                  <a:gd name="T18" fmla="*/ 834 w 834"/>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91" name="Freeform 247"/>
              <p:cNvSpPr>
                <a:spLocks noEditPoints="1"/>
              </p:cNvSpPr>
              <p:nvPr/>
            </p:nvSpPr>
            <p:spPr bwMode="auto">
              <a:xfrm>
                <a:off x="-6245091" y="3527981"/>
                <a:ext cx="2042420" cy="4920"/>
              </a:xfrm>
              <a:custGeom>
                <a:avLst/>
                <a:gdLst>
                  <a:gd name="T0" fmla="*/ 2 w 544"/>
                  <a:gd name="T1" fmla="*/ 0 h 1"/>
                  <a:gd name="T2" fmla="*/ 0 w 544"/>
                  <a:gd name="T3" fmla="*/ 0 h 1"/>
                  <a:gd name="T4" fmla="*/ 0 w 544"/>
                  <a:gd name="T5" fmla="*/ 1 h 1"/>
                  <a:gd name="T6" fmla="*/ 1 w 544"/>
                  <a:gd name="T7" fmla="*/ 1 h 1"/>
                  <a:gd name="T8" fmla="*/ 2 w 544"/>
                  <a:gd name="T9" fmla="*/ 0 h 1"/>
                  <a:gd name="T10" fmla="*/ 544 w 544"/>
                  <a:gd name="T11" fmla="*/ 0 h 1"/>
                  <a:gd name="T12" fmla="*/ 543 w 544"/>
                  <a:gd name="T13" fmla="*/ 0 h 1"/>
                  <a:gd name="T14" fmla="*/ 543 w 544"/>
                  <a:gd name="T15" fmla="*/ 1 h 1"/>
                  <a:gd name="T16" fmla="*/ 544 w 544"/>
                  <a:gd name="T17" fmla="*/ 1 h 1"/>
                  <a:gd name="T18" fmla="*/ 544 w 544"/>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92" name="Freeform 248"/>
              <p:cNvSpPr>
                <a:spLocks/>
              </p:cNvSpPr>
              <p:nvPr/>
            </p:nvSpPr>
            <p:spPr bwMode="auto">
              <a:xfrm>
                <a:off x="-3691414" y="2785124"/>
                <a:ext cx="10434" cy="2459"/>
              </a:xfrm>
              <a:custGeom>
                <a:avLst/>
                <a:gdLst>
                  <a:gd name="T0" fmla="*/ 5 w 5"/>
                  <a:gd name="T1" fmla="*/ 0 h 2"/>
                  <a:gd name="T2" fmla="*/ 0 w 5"/>
                  <a:gd name="T3" fmla="*/ 0 h 2"/>
                  <a:gd name="T4" fmla="*/ 0 w 5"/>
                  <a:gd name="T5" fmla="*/ 2 h 2"/>
                  <a:gd name="T6" fmla="*/ 2 w 5"/>
                  <a:gd name="T7" fmla="*/ 2 h 2"/>
                  <a:gd name="T8" fmla="*/ 5 w 5"/>
                  <a:gd name="T9" fmla="*/ 0 h 2"/>
                  <a:gd name="T10" fmla="*/ 5 w 5"/>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2">
                    <a:moveTo>
                      <a:pt x="5" y="0"/>
                    </a:moveTo>
                    <a:lnTo>
                      <a:pt x="0" y="0"/>
                    </a:lnTo>
                    <a:lnTo>
                      <a:pt x="0" y="2"/>
                    </a:lnTo>
                    <a:lnTo>
                      <a:pt x="2" y="2"/>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93" name="Freeform 249"/>
              <p:cNvSpPr>
                <a:spLocks noEditPoints="1"/>
              </p:cNvSpPr>
              <p:nvPr/>
            </p:nvSpPr>
            <p:spPr bwMode="auto">
              <a:xfrm>
                <a:off x="-5835565" y="2785124"/>
                <a:ext cx="1312054" cy="2459"/>
              </a:xfrm>
              <a:custGeom>
                <a:avLst/>
                <a:gdLst>
                  <a:gd name="T0" fmla="*/ 1 w 350"/>
                  <a:gd name="T1" fmla="*/ 0 h 1"/>
                  <a:gd name="T2" fmla="*/ 0 w 350"/>
                  <a:gd name="T3" fmla="*/ 0 h 1"/>
                  <a:gd name="T4" fmla="*/ 0 w 350"/>
                  <a:gd name="T5" fmla="*/ 1 h 1"/>
                  <a:gd name="T6" fmla="*/ 1 w 350"/>
                  <a:gd name="T7" fmla="*/ 1 h 1"/>
                  <a:gd name="T8" fmla="*/ 1 w 350"/>
                  <a:gd name="T9" fmla="*/ 0 h 1"/>
                  <a:gd name="T10" fmla="*/ 349 w 350"/>
                  <a:gd name="T11" fmla="*/ 0 h 1"/>
                  <a:gd name="T12" fmla="*/ 348 w 350"/>
                  <a:gd name="T13" fmla="*/ 0 h 1"/>
                  <a:gd name="T14" fmla="*/ 349 w 350"/>
                  <a:gd name="T15" fmla="*/ 1 h 1"/>
                  <a:gd name="T16" fmla="*/ 350 w 350"/>
                  <a:gd name="T17" fmla="*/ 1 h 1"/>
                  <a:gd name="T18" fmla="*/ 350 w 350"/>
                  <a:gd name="T19" fmla="*/ 1 h 1"/>
                  <a:gd name="T20" fmla="*/ 349 w 350"/>
                  <a:gd name="T21" fmla="*/ 1 h 1"/>
                  <a:gd name="T22" fmla="*/ 349 w 350"/>
                  <a:gd name="T23" fmla="*/ 0 h 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94" name="Freeform 250"/>
              <p:cNvSpPr>
                <a:spLocks/>
              </p:cNvSpPr>
              <p:nvPr/>
            </p:nvSpPr>
            <p:spPr bwMode="auto">
              <a:xfrm>
                <a:off x="-3673154" y="2669513"/>
                <a:ext cx="5217" cy="2461"/>
              </a:xfrm>
              <a:custGeom>
                <a:avLst/>
                <a:gdLst>
                  <a:gd name="T0" fmla="*/ 1 w 1"/>
                  <a:gd name="T1" fmla="*/ 0 h 1"/>
                  <a:gd name="T2" fmla="*/ 0 w 1"/>
                  <a:gd name="T3" fmla="*/ 0 h 1"/>
                  <a:gd name="T4" fmla="*/ 0 w 1"/>
                  <a:gd name="T5" fmla="*/ 1 h 1"/>
                  <a:gd name="T6" fmla="*/ 0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95" name="Freeform 251"/>
              <p:cNvSpPr>
                <a:spLocks/>
              </p:cNvSpPr>
              <p:nvPr/>
            </p:nvSpPr>
            <p:spPr bwMode="auto">
              <a:xfrm>
                <a:off x="-1309893" y="3146713"/>
                <a:ext cx="7825" cy="2461"/>
              </a:xfrm>
              <a:custGeom>
                <a:avLst/>
                <a:gdLst>
                  <a:gd name="T0" fmla="*/ 2 w 2"/>
                  <a:gd name="T1" fmla="*/ 0 h 1"/>
                  <a:gd name="T2" fmla="*/ 0 w 2"/>
                  <a:gd name="T3" fmla="*/ 0 h 1"/>
                  <a:gd name="T4" fmla="*/ 1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96" name="Freeform 252"/>
              <p:cNvSpPr>
                <a:spLocks/>
              </p:cNvSpPr>
              <p:nvPr/>
            </p:nvSpPr>
            <p:spPr bwMode="auto">
              <a:xfrm>
                <a:off x="-5739051" y="2669513"/>
                <a:ext cx="2608" cy="2461"/>
              </a:xfrm>
              <a:custGeom>
                <a:avLst/>
                <a:gdLst>
                  <a:gd name="T0" fmla="*/ 1 w 1"/>
                  <a:gd name="T1" fmla="*/ 0 h 1"/>
                  <a:gd name="T2" fmla="*/ 0 w 1"/>
                  <a:gd name="T3" fmla="*/ 0 h 1"/>
                  <a:gd name="T4" fmla="*/ 0 w 1"/>
                  <a:gd name="T5" fmla="*/ 1 h 1"/>
                  <a:gd name="T6" fmla="*/ 0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97" name="Freeform 253"/>
              <p:cNvSpPr>
                <a:spLocks noEditPoints="1"/>
              </p:cNvSpPr>
              <p:nvPr/>
            </p:nvSpPr>
            <p:spPr bwMode="auto">
              <a:xfrm>
                <a:off x="-5034768" y="4460241"/>
                <a:ext cx="1163371" cy="2461"/>
              </a:xfrm>
              <a:custGeom>
                <a:avLst/>
                <a:gdLst>
                  <a:gd name="T0" fmla="*/ 1 w 310"/>
                  <a:gd name="T1" fmla="*/ 0 h 1"/>
                  <a:gd name="T2" fmla="*/ 0 w 310"/>
                  <a:gd name="T3" fmla="*/ 0 h 1"/>
                  <a:gd name="T4" fmla="*/ 0 w 310"/>
                  <a:gd name="T5" fmla="*/ 1 h 1"/>
                  <a:gd name="T6" fmla="*/ 1 w 310"/>
                  <a:gd name="T7" fmla="*/ 1 h 1"/>
                  <a:gd name="T8" fmla="*/ 1 w 310"/>
                  <a:gd name="T9" fmla="*/ 0 h 1"/>
                  <a:gd name="T10" fmla="*/ 310 w 310"/>
                  <a:gd name="T11" fmla="*/ 0 h 1"/>
                  <a:gd name="T12" fmla="*/ 309 w 310"/>
                  <a:gd name="T13" fmla="*/ 0 h 1"/>
                  <a:gd name="T14" fmla="*/ 309 w 310"/>
                  <a:gd name="T15" fmla="*/ 1 h 1"/>
                  <a:gd name="T16" fmla="*/ 310 w 310"/>
                  <a:gd name="T17" fmla="*/ 1 h 1"/>
                  <a:gd name="T18" fmla="*/ 310 w 310"/>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98" name="Freeform 254"/>
              <p:cNvSpPr>
                <a:spLocks noEditPoints="1"/>
              </p:cNvSpPr>
              <p:nvPr/>
            </p:nvSpPr>
            <p:spPr bwMode="auto">
              <a:xfrm>
                <a:off x="-3795752" y="4460241"/>
                <a:ext cx="1450301" cy="2461"/>
              </a:xfrm>
              <a:custGeom>
                <a:avLst/>
                <a:gdLst>
                  <a:gd name="T0" fmla="*/ 386 w 386"/>
                  <a:gd name="T1" fmla="*/ 0 h 1"/>
                  <a:gd name="T2" fmla="*/ 385 w 386"/>
                  <a:gd name="T3" fmla="*/ 1 h 1"/>
                  <a:gd name="T4" fmla="*/ 386 w 386"/>
                  <a:gd name="T5" fmla="*/ 1 h 1"/>
                  <a:gd name="T6" fmla="*/ 386 w 386"/>
                  <a:gd name="T7" fmla="*/ 0 h 1"/>
                  <a:gd name="T8" fmla="*/ 1 w 386"/>
                  <a:gd name="T9" fmla="*/ 0 h 1"/>
                  <a:gd name="T10" fmla="*/ 0 w 386"/>
                  <a:gd name="T11" fmla="*/ 0 h 1"/>
                  <a:gd name="T12" fmla="*/ 0 w 386"/>
                  <a:gd name="T13" fmla="*/ 1 h 1"/>
                  <a:gd name="T14" fmla="*/ 1 w 386"/>
                  <a:gd name="T15" fmla="*/ 1 h 1"/>
                  <a:gd name="T16" fmla="*/ 1 w 386"/>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99" name="Freeform 255"/>
              <p:cNvSpPr>
                <a:spLocks noEditPoints="1"/>
              </p:cNvSpPr>
              <p:nvPr/>
            </p:nvSpPr>
            <p:spPr bwMode="auto">
              <a:xfrm>
                <a:off x="-2199377" y="4460241"/>
                <a:ext cx="1434651" cy="2461"/>
              </a:xfrm>
              <a:custGeom>
                <a:avLst/>
                <a:gdLst>
                  <a:gd name="T0" fmla="*/ 1 w 382"/>
                  <a:gd name="T1" fmla="*/ 0 h 1"/>
                  <a:gd name="T2" fmla="*/ 0 w 382"/>
                  <a:gd name="T3" fmla="*/ 0 h 1"/>
                  <a:gd name="T4" fmla="*/ 0 w 382"/>
                  <a:gd name="T5" fmla="*/ 1 h 1"/>
                  <a:gd name="T6" fmla="*/ 1 w 382"/>
                  <a:gd name="T7" fmla="*/ 1 h 1"/>
                  <a:gd name="T8" fmla="*/ 1 w 382"/>
                  <a:gd name="T9" fmla="*/ 0 h 1"/>
                  <a:gd name="T10" fmla="*/ 382 w 382"/>
                  <a:gd name="T11" fmla="*/ 0 h 1"/>
                  <a:gd name="T12" fmla="*/ 381 w 382"/>
                  <a:gd name="T13" fmla="*/ 0 h 1"/>
                  <a:gd name="T14" fmla="*/ 381 w 382"/>
                  <a:gd name="T15" fmla="*/ 1 h 1"/>
                  <a:gd name="T16" fmla="*/ 382 w 382"/>
                  <a:gd name="T17" fmla="*/ 1 h 1"/>
                  <a:gd name="T18" fmla="*/ 382 w 382"/>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00" name="Freeform 256"/>
              <p:cNvSpPr>
                <a:spLocks noEditPoints="1"/>
              </p:cNvSpPr>
              <p:nvPr/>
            </p:nvSpPr>
            <p:spPr bwMode="auto">
              <a:xfrm>
                <a:off x="-6315521" y="4460241"/>
                <a:ext cx="1168588" cy="2461"/>
              </a:xfrm>
              <a:custGeom>
                <a:avLst/>
                <a:gdLst>
                  <a:gd name="T0" fmla="*/ 1 w 311"/>
                  <a:gd name="T1" fmla="*/ 0 h 1"/>
                  <a:gd name="T2" fmla="*/ 0 w 311"/>
                  <a:gd name="T3" fmla="*/ 0 h 1"/>
                  <a:gd name="T4" fmla="*/ 0 w 311"/>
                  <a:gd name="T5" fmla="*/ 1 h 1"/>
                  <a:gd name="T6" fmla="*/ 1 w 311"/>
                  <a:gd name="T7" fmla="*/ 1 h 1"/>
                  <a:gd name="T8" fmla="*/ 1 w 311"/>
                  <a:gd name="T9" fmla="*/ 0 h 1"/>
                  <a:gd name="T10" fmla="*/ 311 w 311"/>
                  <a:gd name="T11" fmla="*/ 0 h 1"/>
                  <a:gd name="T12" fmla="*/ 311 w 311"/>
                  <a:gd name="T13" fmla="*/ 0 h 1"/>
                  <a:gd name="T14" fmla="*/ 310 w 311"/>
                  <a:gd name="T15" fmla="*/ 1 h 1"/>
                  <a:gd name="T16" fmla="*/ 311 w 311"/>
                  <a:gd name="T17" fmla="*/ 1 h 1"/>
                  <a:gd name="T18" fmla="*/ 311 w 311"/>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01" name="Freeform 257"/>
              <p:cNvSpPr>
                <a:spLocks noEditPoints="1"/>
              </p:cNvSpPr>
              <p:nvPr/>
            </p:nvSpPr>
            <p:spPr bwMode="auto">
              <a:xfrm>
                <a:off x="-6211182" y="5200638"/>
                <a:ext cx="748628" cy="2459"/>
              </a:xfrm>
              <a:custGeom>
                <a:avLst/>
                <a:gdLst>
                  <a:gd name="T0" fmla="*/ 0 w 199"/>
                  <a:gd name="T1" fmla="*/ 0 h 1"/>
                  <a:gd name="T2" fmla="*/ 0 w 199"/>
                  <a:gd name="T3" fmla="*/ 0 h 1"/>
                  <a:gd name="T4" fmla="*/ 0 w 199"/>
                  <a:gd name="T5" fmla="*/ 1 h 1"/>
                  <a:gd name="T6" fmla="*/ 0 w 199"/>
                  <a:gd name="T7" fmla="*/ 1 h 1"/>
                  <a:gd name="T8" fmla="*/ 0 w 199"/>
                  <a:gd name="T9" fmla="*/ 0 h 1"/>
                  <a:gd name="T10" fmla="*/ 199 w 199"/>
                  <a:gd name="T11" fmla="*/ 0 h 1"/>
                  <a:gd name="T12" fmla="*/ 198 w 199"/>
                  <a:gd name="T13" fmla="*/ 0 h 1"/>
                  <a:gd name="T14" fmla="*/ 198 w 199"/>
                  <a:gd name="T15" fmla="*/ 1 h 1"/>
                  <a:gd name="T16" fmla="*/ 199 w 199"/>
                  <a:gd name="T17" fmla="*/ 1 h 1"/>
                  <a:gd name="T18" fmla="*/ 199 w 199"/>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02" name="Freeform 258"/>
              <p:cNvSpPr>
                <a:spLocks noEditPoints="1"/>
              </p:cNvSpPr>
              <p:nvPr/>
            </p:nvSpPr>
            <p:spPr bwMode="auto">
              <a:xfrm>
                <a:off x="-4836525" y="5200638"/>
                <a:ext cx="740801" cy="2459"/>
              </a:xfrm>
              <a:custGeom>
                <a:avLst/>
                <a:gdLst>
                  <a:gd name="T0" fmla="*/ 1 w 197"/>
                  <a:gd name="T1" fmla="*/ 0 h 1"/>
                  <a:gd name="T2" fmla="*/ 0 w 197"/>
                  <a:gd name="T3" fmla="*/ 0 h 1"/>
                  <a:gd name="T4" fmla="*/ 0 w 197"/>
                  <a:gd name="T5" fmla="*/ 1 h 1"/>
                  <a:gd name="T6" fmla="*/ 1 w 197"/>
                  <a:gd name="T7" fmla="*/ 1 h 1"/>
                  <a:gd name="T8" fmla="*/ 1 w 197"/>
                  <a:gd name="T9" fmla="*/ 0 h 1"/>
                  <a:gd name="T10" fmla="*/ 197 w 197"/>
                  <a:gd name="T11" fmla="*/ 0 h 1"/>
                  <a:gd name="T12" fmla="*/ 196 w 197"/>
                  <a:gd name="T13" fmla="*/ 0 h 1"/>
                  <a:gd name="T14" fmla="*/ 196 w 197"/>
                  <a:gd name="T15" fmla="*/ 1 h 1"/>
                  <a:gd name="T16" fmla="*/ 197 w 197"/>
                  <a:gd name="T17" fmla="*/ 1 h 1"/>
                  <a:gd name="T18" fmla="*/ 197 w 197"/>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03" name="Freeform 259"/>
              <p:cNvSpPr>
                <a:spLocks noEditPoints="1"/>
              </p:cNvSpPr>
              <p:nvPr/>
            </p:nvSpPr>
            <p:spPr bwMode="auto">
              <a:xfrm>
                <a:off x="-3592293" y="5200638"/>
                <a:ext cx="926003" cy="2459"/>
              </a:xfrm>
              <a:custGeom>
                <a:avLst/>
                <a:gdLst>
                  <a:gd name="T0" fmla="*/ 1 w 247"/>
                  <a:gd name="T1" fmla="*/ 0 h 1"/>
                  <a:gd name="T2" fmla="*/ 0 w 247"/>
                  <a:gd name="T3" fmla="*/ 0 h 1"/>
                  <a:gd name="T4" fmla="*/ 0 w 247"/>
                  <a:gd name="T5" fmla="*/ 1 h 1"/>
                  <a:gd name="T6" fmla="*/ 1 w 247"/>
                  <a:gd name="T7" fmla="*/ 1 h 1"/>
                  <a:gd name="T8" fmla="*/ 1 w 247"/>
                  <a:gd name="T9" fmla="*/ 0 h 1"/>
                  <a:gd name="T10" fmla="*/ 247 w 247"/>
                  <a:gd name="T11" fmla="*/ 0 h 1"/>
                  <a:gd name="T12" fmla="*/ 246 w 247"/>
                  <a:gd name="T13" fmla="*/ 0 h 1"/>
                  <a:gd name="T14" fmla="*/ 246 w 247"/>
                  <a:gd name="T15" fmla="*/ 1 h 1"/>
                  <a:gd name="T16" fmla="*/ 247 w 247"/>
                  <a:gd name="T17" fmla="*/ 1 h 1"/>
                  <a:gd name="T18" fmla="*/ 247 w 247"/>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04" name="Freeform 260"/>
              <p:cNvSpPr>
                <a:spLocks noEditPoints="1"/>
              </p:cNvSpPr>
              <p:nvPr/>
            </p:nvSpPr>
            <p:spPr bwMode="auto">
              <a:xfrm>
                <a:off x="-1878536" y="5200638"/>
                <a:ext cx="967736" cy="2459"/>
              </a:xfrm>
              <a:custGeom>
                <a:avLst/>
                <a:gdLst>
                  <a:gd name="T0" fmla="*/ 1 w 258"/>
                  <a:gd name="T1" fmla="*/ 0 h 1"/>
                  <a:gd name="T2" fmla="*/ 0 w 258"/>
                  <a:gd name="T3" fmla="*/ 0 h 1"/>
                  <a:gd name="T4" fmla="*/ 0 w 258"/>
                  <a:gd name="T5" fmla="*/ 1 h 1"/>
                  <a:gd name="T6" fmla="*/ 2 w 258"/>
                  <a:gd name="T7" fmla="*/ 1 h 1"/>
                  <a:gd name="T8" fmla="*/ 1 w 258"/>
                  <a:gd name="T9" fmla="*/ 0 h 1"/>
                  <a:gd name="T10" fmla="*/ 258 w 258"/>
                  <a:gd name="T11" fmla="*/ 0 h 1"/>
                  <a:gd name="T12" fmla="*/ 258 w 258"/>
                  <a:gd name="T13" fmla="*/ 0 h 1"/>
                  <a:gd name="T14" fmla="*/ 257 w 258"/>
                  <a:gd name="T15" fmla="*/ 1 h 1"/>
                  <a:gd name="T16" fmla="*/ 258 w 258"/>
                  <a:gd name="T17" fmla="*/ 1 h 1"/>
                  <a:gd name="T18" fmla="*/ 258 w 258"/>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05" name="Freeform 261"/>
              <p:cNvSpPr>
                <a:spLocks noEditPoints="1"/>
              </p:cNvSpPr>
              <p:nvPr/>
            </p:nvSpPr>
            <p:spPr bwMode="auto">
              <a:xfrm>
                <a:off x="-6174664" y="5318708"/>
                <a:ext cx="631246" cy="2459"/>
              </a:xfrm>
              <a:custGeom>
                <a:avLst/>
                <a:gdLst>
                  <a:gd name="T0" fmla="*/ 1 w 168"/>
                  <a:gd name="T1" fmla="*/ 0 h 2459"/>
                  <a:gd name="T2" fmla="*/ 0 w 168"/>
                  <a:gd name="T3" fmla="*/ 0 h 2459"/>
                  <a:gd name="T4" fmla="*/ 0 w 168"/>
                  <a:gd name="T5" fmla="*/ 0 h 2459"/>
                  <a:gd name="T6" fmla="*/ 1 w 168"/>
                  <a:gd name="T7" fmla="*/ 0 h 2459"/>
                  <a:gd name="T8" fmla="*/ 1 w 168"/>
                  <a:gd name="T9" fmla="*/ 0 h 2459"/>
                  <a:gd name="T10" fmla="*/ 1 w 168"/>
                  <a:gd name="T11" fmla="*/ 0 h 2459"/>
                  <a:gd name="T12" fmla="*/ 1 w 168"/>
                  <a:gd name="T13" fmla="*/ 0 h 2459"/>
                  <a:gd name="T14" fmla="*/ 168 w 168"/>
                  <a:gd name="T15" fmla="*/ 0 h 2459"/>
                  <a:gd name="T16" fmla="*/ 168 w 168"/>
                  <a:gd name="T17" fmla="*/ 0 h 2459"/>
                  <a:gd name="T18" fmla="*/ 168 w 168"/>
                  <a:gd name="T19" fmla="*/ 0 h 2459"/>
                  <a:gd name="T20" fmla="*/ 168 w 168"/>
                  <a:gd name="T21" fmla="*/ 0 h 2459"/>
                  <a:gd name="T22" fmla="*/ 168 w 168"/>
                  <a:gd name="T23" fmla="*/ 0 h 245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8" h="2459">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06" name="Freeform 262"/>
              <p:cNvSpPr>
                <a:spLocks noEditPoints="1"/>
              </p:cNvSpPr>
              <p:nvPr/>
            </p:nvSpPr>
            <p:spPr bwMode="auto">
              <a:xfrm>
                <a:off x="-4779139" y="5323628"/>
                <a:ext cx="626029" cy="4920"/>
              </a:xfrm>
              <a:custGeom>
                <a:avLst/>
                <a:gdLst>
                  <a:gd name="T0" fmla="*/ 0 w 167"/>
                  <a:gd name="T1" fmla="*/ 0 h 1"/>
                  <a:gd name="T2" fmla="*/ 0 w 167"/>
                  <a:gd name="T3" fmla="*/ 0 h 1"/>
                  <a:gd name="T4" fmla="*/ 0 w 167"/>
                  <a:gd name="T5" fmla="*/ 1 h 1"/>
                  <a:gd name="T6" fmla="*/ 1 w 167"/>
                  <a:gd name="T7" fmla="*/ 1 h 1"/>
                  <a:gd name="T8" fmla="*/ 0 w 167"/>
                  <a:gd name="T9" fmla="*/ 0 h 1"/>
                  <a:gd name="T10" fmla="*/ 167 w 167"/>
                  <a:gd name="T11" fmla="*/ 0 h 1"/>
                  <a:gd name="T12" fmla="*/ 167 w 167"/>
                  <a:gd name="T13" fmla="*/ 0 h 1"/>
                  <a:gd name="T14" fmla="*/ 166 w 167"/>
                  <a:gd name="T15" fmla="*/ 1 h 1"/>
                  <a:gd name="T16" fmla="*/ 167 w 167"/>
                  <a:gd name="T17" fmla="*/ 1 h 1"/>
                  <a:gd name="T18" fmla="*/ 167 w 167"/>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07" name="Freeform 263"/>
              <p:cNvSpPr>
                <a:spLocks noEditPoints="1"/>
              </p:cNvSpPr>
              <p:nvPr/>
            </p:nvSpPr>
            <p:spPr bwMode="auto">
              <a:xfrm>
                <a:off x="-3537514" y="5323628"/>
                <a:ext cx="792971" cy="4920"/>
              </a:xfrm>
              <a:custGeom>
                <a:avLst/>
                <a:gdLst>
                  <a:gd name="T0" fmla="*/ 0 w 211"/>
                  <a:gd name="T1" fmla="*/ 0 h 1"/>
                  <a:gd name="T2" fmla="*/ 0 w 211"/>
                  <a:gd name="T3" fmla="*/ 0 h 1"/>
                  <a:gd name="T4" fmla="*/ 0 w 211"/>
                  <a:gd name="T5" fmla="*/ 1 h 1"/>
                  <a:gd name="T6" fmla="*/ 1 w 211"/>
                  <a:gd name="T7" fmla="*/ 1 h 1"/>
                  <a:gd name="T8" fmla="*/ 0 w 211"/>
                  <a:gd name="T9" fmla="*/ 0 h 1"/>
                  <a:gd name="T10" fmla="*/ 211 w 211"/>
                  <a:gd name="T11" fmla="*/ 0 h 1"/>
                  <a:gd name="T12" fmla="*/ 210 w 211"/>
                  <a:gd name="T13" fmla="*/ 0 h 1"/>
                  <a:gd name="T14" fmla="*/ 210 w 211"/>
                  <a:gd name="T15" fmla="*/ 1 h 1"/>
                  <a:gd name="T16" fmla="*/ 211 w 211"/>
                  <a:gd name="T17" fmla="*/ 1 h 1"/>
                  <a:gd name="T18" fmla="*/ 211 w 211"/>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08" name="Freeform 264"/>
              <p:cNvSpPr>
                <a:spLocks/>
              </p:cNvSpPr>
              <p:nvPr/>
            </p:nvSpPr>
            <p:spPr bwMode="auto">
              <a:xfrm>
                <a:off x="-1766374" y="5323628"/>
                <a:ext cx="7826" cy="4920"/>
              </a:xfrm>
              <a:custGeom>
                <a:avLst/>
                <a:gdLst>
                  <a:gd name="T0" fmla="*/ 1 w 2"/>
                  <a:gd name="T1" fmla="*/ 0 h 1"/>
                  <a:gd name="T2" fmla="*/ 0 w 2"/>
                  <a:gd name="T3" fmla="*/ 0 h 1"/>
                  <a:gd name="T4" fmla="*/ 0 w 2"/>
                  <a:gd name="T5" fmla="*/ 1 h 1"/>
                  <a:gd name="T6" fmla="*/ 2 w 2"/>
                  <a:gd name="T7" fmla="*/ 1 h 1"/>
                  <a:gd name="T8" fmla="*/ 1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09" name="Freeform 265"/>
              <p:cNvSpPr>
                <a:spLocks noEditPoints="1"/>
              </p:cNvSpPr>
              <p:nvPr/>
            </p:nvSpPr>
            <p:spPr bwMode="auto">
              <a:xfrm>
                <a:off x="-6344213" y="3965824"/>
                <a:ext cx="5592529" cy="4920"/>
              </a:xfrm>
              <a:custGeom>
                <a:avLst/>
                <a:gdLst>
                  <a:gd name="T0" fmla="*/ 1 w 1488"/>
                  <a:gd name="T1" fmla="*/ 0 h 1"/>
                  <a:gd name="T2" fmla="*/ 0 w 1488"/>
                  <a:gd name="T3" fmla="*/ 0 h 1"/>
                  <a:gd name="T4" fmla="*/ 0 w 1488"/>
                  <a:gd name="T5" fmla="*/ 1 h 1"/>
                  <a:gd name="T6" fmla="*/ 1 w 1488"/>
                  <a:gd name="T7" fmla="*/ 1 h 1"/>
                  <a:gd name="T8" fmla="*/ 1 w 1488"/>
                  <a:gd name="T9" fmla="*/ 0 h 1"/>
                  <a:gd name="T10" fmla="*/ 1488 w 1488"/>
                  <a:gd name="T11" fmla="*/ 0 h 1"/>
                  <a:gd name="T12" fmla="*/ 1487 w 1488"/>
                  <a:gd name="T13" fmla="*/ 0 h 1"/>
                  <a:gd name="T14" fmla="*/ 1487 w 1488"/>
                  <a:gd name="T15" fmla="*/ 1 h 1"/>
                  <a:gd name="T16" fmla="*/ 1488 w 1488"/>
                  <a:gd name="T17" fmla="*/ 1 h 1"/>
                  <a:gd name="T18" fmla="*/ 1488 w 1488"/>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10" name="Freeform 266"/>
              <p:cNvSpPr>
                <a:spLocks noEditPoints="1"/>
              </p:cNvSpPr>
              <p:nvPr/>
            </p:nvSpPr>
            <p:spPr bwMode="auto">
              <a:xfrm>
                <a:off x="-6265959" y="3582096"/>
                <a:ext cx="2076331" cy="4920"/>
              </a:xfrm>
              <a:custGeom>
                <a:avLst/>
                <a:gdLst>
                  <a:gd name="T0" fmla="*/ 1 w 552"/>
                  <a:gd name="T1" fmla="*/ 0 h 1"/>
                  <a:gd name="T2" fmla="*/ 0 w 552"/>
                  <a:gd name="T3" fmla="*/ 0 h 1"/>
                  <a:gd name="T4" fmla="*/ 0 w 552"/>
                  <a:gd name="T5" fmla="*/ 1 h 1"/>
                  <a:gd name="T6" fmla="*/ 1 w 552"/>
                  <a:gd name="T7" fmla="*/ 1 h 1"/>
                  <a:gd name="T8" fmla="*/ 1 w 552"/>
                  <a:gd name="T9" fmla="*/ 0 h 1"/>
                  <a:gd name="T10" fmla="*/ 552 w 552"/>
                  <a:gd name="T11" fmla="*/ 0 h 1"/>
                  <a:gd name="T12" fmla="*/ 551 w 552"/>
                  <a:gd name="T13" fmla="*/ 0 h 1"/>
                  <a:gd name="T14" fmla="*/ 551 w 552"/>
                  <a:gd name="T15" fmla="*/ 1 h 1"/>
                  <a:gd name="T16" fmla="*/ 552 w 552"/>
                  <a:gd name="T17" fmla="*/ 1 h 1"/>
                  <a:gd name="T18" fmla="*/ 552 w 552"/>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11" name="Freeform 267"/>
              <p:cNvSpPr>
                <a:spLocks noEditPoints="1"/>
              </p:cNvSpPr>
              <p:nvPr/>
            </p:nvSpPr>
            <p:spPr bwMode="auto">
              <a:xfrm>
                <a:off x="-4080073" y="3582096"/>
                <a:ext cx="3184924" cy="4920"/>
              </a:xfrm>
              <a:custGeom>
                <a:avLst/>
                <a:gdLst>
                  <a:gd name="T0" fmla="*/ 1 w 847"/>
                  <a:gd name="T1" fmla="*/ 0 h 1"/>
                  <a:gd name="T2" fmla="*/ 0 w 847"/>
                  <a:gd name="T3" fmla="*/ 0 h 1"/>
                  <a:gd name="T4" fmla="*/ 0 w 847"/>
                  <a:gd name="T5" fmla="*/ 1 h 1"/>
                  <a:gd name="T6" fmla="*/ 1 w 847"/>
                  <a:gd name="T7" fmla="*/ 1 h 1"/>
                  <a:gd name="T8" fmla="*/ 1 w 847"/>
                  <a:gd name="T9" fmla="*/ 0 h 1"/>
                  <a:gd name="T10" fmla="*/ 847 w 847"/>
                  <a:gd name="T11" fmla="*/ 0 h 1"/>
                  <a:gd name="T12" fmla="*/ 846 w 847"/>
                  <a:gd name="T13" fmla="*/ 0 h 1"/>
                  <a:gd name="T14" fmla="*/ 846 w 847"/>
                  <a:gd name="T15" fmla="*/ 1 h 1"/>
                  <a:gd name="T16" fmla="*/ 847 w 847"/>
                  <a:gd name="T17" fmla="*/ 1 h 1"/>
                  <a:gd name="T18" fmla="*/ 847 w 847"/>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12" name="Freeform 268"/>
              <p:cNvSpPr>
                <a:spLocks/>
              </p:cNvSpPr>
              <p:nvPr/>
            </p:nvSpPr>
            <p:spPr bwMode="auto">
              <a:xfrm>
                <a:off x="-3834878" y="4088813"/>
                <a:ext cx="2608" cy="2459"/>
              </a:xfrm>
              <a:custGeom>
                <a:avLst/>
                <a:gdLst>
                  <a:gd name="T0" fmla="*/ 1 w 1"/>
                  <a:gd name="T1" fmla="*/ 0 h 2459"/>
                  <a:gd name="T2" fmla="*/ 0 w 1"/>
                  <a:gd name="T3" fmla="*/ 0 h 2459"/>
                  <a:gd name="T4" fmla="*/ 0 w 1"/>
                  <a:gd name="T5" fmla="*/ 0 h 2459"/>
                  <a:gd name="T6" fmla="*/ 1 w 1"/>
                  <a:gd name="T7" fmla="*/ 0 h 245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2459">
                    <a:moveTo>
                      <a:pt x="1" y="0"/>
                    </a:moveTo>
                    <a:cubicBezTo>
                      <a:pt x="0" y="0"/>
                      <a:pt x="0" y="0"/>
                      <a:pt x="0" y="0"/>
                    </a:cubicBezTo>
                    <a:cubicBezTo>
                      <a:pt x="0" y="0"/>
                      <a:pt x="0" y="0"/>
                      <a:pt x="0"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13" name="Freeform 269"/>
              <p:cNvSpPr>
                <a:spLocks/>
              </p:cNvSpPr>
              <p:nvPr/>
            </p:nvSpPr>
            <p:spPr bwMode="auto">
              <a:xfrm>
                <a:off x="-2269805" y="4044537"/>
                <a:ext cx="2608" cy="2459"/>
              </a:xfrm>
              <a:custGeom>
                <a:avLst/>
                <a:gdLst>
                  <a:gd name="T0" fmla="*/ 2 w 2"/>
                  <a:gd name="T1" fmla="*/ 0 h 2459"/>
                  <a:gd name="T2" fmla="*/ 0 w 2"/>
                  <a:gd name="T3" fmla="*/ 0 h 2459"/>
                  <a:gd name="T4" fmla="*/ 0 w 2"/>
                  <a:gd name="T5" fmla="*/ 0 h 2459"/>
                  <a:gd name="T6" fmla="*/ 2 w 2"/>
                  <a:gd name="T7" fmla="*/ 0 h 2459"/>
                  <a:gd name="T8" fmla="*/ 2 w 2"/>
                  <a:gd name="T9" fmla="*/ 0 h 2459"/>
                  <a:gd name="T10" fmla="*/ 2 w 2"/>
                  <a:gd name="T11" fmla="*/ 0 h 245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459">
                    <a:moveTo>
                      <a:pt x="2" y="0"/>
                    </a:moveTo>
                    <a:lnTo>
                      <a:pt x="0" y="0"/>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14" name="Freeform 270"/>
              <p:cNvSpPr>
                <a:spLocks/>
              </p:cNvSpPr>
              <p:nvPr/>
            </p:nvSpPr>
            <p:spPr bwMode="auto">
              <a:xfrm>
                <a:off x="-1302068" y="3146713"/>
                <a:ext cx="7826" cy="2461"/>
              </a:xfrm>
              <a:custGeom>
                <a:avLst/>
                <a:gdLst>
                  <a:gd name="T0" fmla="*/ 1 w 2"/>
                  <a:gd name="T1" fmla="*/ 0 h 1"/>
                  <a:gd name="T2" fmla="*/ 0 w 2"/>
                  <a:gd name="T3" fmla="*/ 0 h 1"/>
                  <a:gd name="T4" fmla="*/ 0 w 2"/>
                  <a:gd name="T5" fmla="*/ 1 h 1"/>
                  <a:gd name="T6" fmla="*/ 1 w 2"/>
                  <a:gd name="T7" fmla="*/ 1 h 1"/>
                  <a:gd name="T8" fmla="*/ 1 w 2"/>
                  <a:gd name="T9" fmla="*/ 1 h 1"/>
                  <a:gd name="T10" fmla="*/ 2 w 2"/>
                  <a:gd name="T11" fmla="*/ 1 h 1"/>
                  <a:gd name="T12" fmla="*/ 1 w 2"/>
                  <a:gd name="T13" fmla="*/ 0 h 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15" name="Freeform 271"/>
              <p:cNvSpPr>
                <a:spLocks/>
              </p:cNvSpPr>
              <p:nvPr/>
            </p:nvSpPr>
            <p:spPr bwMode="auto">
              <a:xfrm>
                <a:off x="-4140068" y="3892030"/>
                <a:ext cx="10434" cy="2459"/>
              </a:xfrm>
              <a:custGeom>
                <a:avLst/>
                <a:gdLst>
                  <a:gd name="T0" fmla="*/ 2 w 2"/>
                  <a:gd name="T1" fmla="*/ 0 h 1"/>
                  <a:gd name="T2" fmla="*/ 0 w 2"/>
                  <a:gd name="T3" fmla="*/ 1 h 1"/>
                  <a:gd name="T4" fmla="*/ 2 w 2"/>
                  <a:gd name="T5" fmla="*/ 1 h 1"/>
                  <a:gd name="T6" fmla="*/ 2 w 2"/>
                  <a:gd name="T7" fmla="*/ 0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16" name="Freeform 272"/>
              <p:cNvSpPr>
                <a:spLocks/>
              </p:cNvSpPr>
              <p:nvPr/>
            </p:nvSpPr>
            <p:spPr bwMode="auto">
              <a:xfrm>
                <a:off x="-5076503" y="4002720"/>
                <a:ext cx="2608" cy="2461"/>
              </a:xfrm>
              <a:custGeom>
                <a:avLst/>
                <a:gdLst>
                  <a:gd name="T0" fmla="*/ 2 w 2"/>
                  <a:gd name="T1" fmla="*/ 0 h 2461"/>
                  <a:gd name="T2" fmla="*/ 0 w 2"/>
                  <a:gd name="T3" fmla="*/ 0 h 2461"/>
                  <a:gd name="T4" fmla="*/ 0 w 2"/>
                  <a:gd name="T5" fmla="*/ 0 h 2461"/>
                  <a:gd name="T6" fmla="*/ 2 w 2"/>
                  <a:gd name="T7" fmla="*/ 0 h 2461"/>
                  <a:gd name="T8" fmla="*/ 2 w 2"/>
                  <a:gd name="T9" fmla="*/ 0 h 2461"/>
                  <a:gd name="T10" fmla="*/ 2 w 2"/>
                  <a:gd name="T11" fmla="*/ 0 h 24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461">
                    <a:moveTo>
                      <a:pt x="2" y="0"/>
                    </a:moveTo>
                    <a:lnTo>
                      <a:pt x="0" y="0"/>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17" name="Freeform 273"/>
              <p:cNvSpPr>
                <a:spLocks/>
              </p:cNvSpPr>
              <p:nvPr/>
            </p:nvSpPr>
            <p:spPr bwMode="auto">
              <a:xfrm>
                <a:off x="-4528727" y="2785124"/>
                <a:ext cx="5217" cy="2459"/>
              </a:xfrm>
              <a:custGeom>
                <a:avLst/>
                <a:gdLst>
                  <a:gd name="T0" fmla="*/ 0 w 2"/>
                  <a:gd name="T1" fmla="*/ 0 h 1"/>
                  <a:gd name="T2" fmla="*/ 1 w 2"/>
                  <a:gd name="T3" fmla="*/ 0 h 1"/>
                  <a:gd name="T4" fmla="*/ 2 w 2"/>
                  <a:gd name="T5" fmla="*/ 0 h 1"/>
                  <a:gd name="T6" fmla="*/ 2 w 2"/>
                  <a:gd name="T7" fmla="*/ 1 h 1"/>
                  <a:gd name="T8" fmla="*/ 2 w 2"/>
                  <a:gd name="T9" fmla="*/ 0 h 1"/>
                  <a:gd name="T10" fmla="*/ 2 w 2"/>
                  <a:gd name="T11" fmla="*/ 0 h 1"/>
                  <a:gd name="T12" fmla="*/ 0 w 2"/>
                  <a:gd name="T13" fmla="*/ 0 h 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18" name="Freeform 274"/>
              <p:cNvSpPr>
                <a:spLocks/>
              </p:cNvSpPr>
              <p:nvPr/>
            </p:nvSpPr>
            <p:spPr bwMode="auto">
              <a:xfrm>
                <a:off x="-4523511" y="2785124"/>
                <a:ext cx="0" cy="2459"/>
              </a:xfrm>
              <a:custGeom>
                <a:avLst/>
                <a:gdLst>
                  <a:gd name="T0" fmla="*/ 1 w 1"/>
                  <a:gd name="T1" fmla="*/ 0 h 1"/>
                  <a:gd name="T2" fmla="*/ 0 w 1"/>
                  <a:gd name="T3" fmla="*/ 0 h 1"/>
                  <a:gd name="T4" fmla="*/ 0 w 1"/>
                  <a:gd name="T5" fmla="*/ 1 h 1"/>
                  <a:gd name="T6" fmla="*/ 1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19" name="Freeform 275"/>
              <p:cNvSpPr>
                <a:spLocks/>
              </p:cNvSpPr>
              <p:nvPr/>
            </p:nvSpPr>
            <p:spPr bwMode="auto">
              <a:xfrm>
                <a:off x="-4340919" y="2785124"/>
                <a:ext cx="5217" cy="2459"/>
              </a:xfrm>
              <a:custGeom>
                <a:avLst/>
                <a:gdLst>
                  <a:gd name="T0" fmla="*/ 0 w 1"/>
                  <a:gd name="T1" fmla="*/ 0 h 1"/>
                  <a:gd name="T2" fmla="*/ 0 w 1"/>
                  <a:gd name="T3" fmla="*/ 1 h 1"/>
                  <a:gd name="T4" fmla="*/ 1 w 1"/>
                  <a:gd name="T5" fmla="*/ 0 h 1"/>
                  <a:gd name="T6" fmla="*/ 1 w 1"/>
                  <a:gd name="T7" fmla="*/ 0 h 1"/>
                  <a:gd name="T8" fmla="*/ 0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20" name="Freeform 276"/>
              <p:cNvSpPr>
                <a:spLocks noEditPoints="1"/>
              </p:cNvSpPr>
              <p:nvPr/>
            </p:nvSpPr>
            <p:spPr bwMode="auto">
              <a:xfrm>
                <a:off x="-6036415" y="3149173"/>
                <a:ext cx="1661586" cy="2459"/>
              </a:xfrm>
              <a:custGeom>
                <a:avLst/>
                <a:gdLst>
                  <a:gd name="T0" fmla="*/ 2 w 442"/>
                  <a:gd name="T1" fmla="*/ 0 h 1"/>
                  <a:gd name="T2" fmla="*/ 0 w 442"/>
                  <a:gd name="T3" fmla="*/ 0 h 1"/>
                  <a:gd name="T4" fmla="*/ 0 w 442"/>
                  <a:gd name="T5" fmla="*/ 1 h 1"/>
                  <a:gd name="T6" fmla="*/ 1 w 442"/>
                  <a:gd name="T7" fmla="*/ 1 h 1"/>
                  <a:gd name="T8" fmla="*/ 1 w 442"/>
                  <a:gd name="T9" fmla="*/ 0 h 1"/>
                  <a:gd name="T10" fmla="*/ 2 w 442"/>
                  <a:gd name="T11" fmla="*/ 0 h 1"/>
                  <a:gd name="T12" fmla="*/ 442 w 442"/>
                  <a:gd name="T13" fmla="*/ 0 h 1"/>
                  <a:gd name="T14" fmla="*/ 442 w 442"/>
                  <a:gd name="T15" fmla="*/ 0 h 1"/>
                  <a:gd name="T16" fmla="*/ 442 w 442"/>
                  <a:gd name="T17" fmla="*/ 1 h 1"/>
                  <a:gd name="T18" fmla="*/ 442 w 442"/>
                  <a:gd name="T19" fmla="*/ 1 h 1"/>
                  <a:gd name="T20" fmla="*/ 442 w 442"/>
                  <a:gd name="T21" fmla="*/ 0 h 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21" name="Freeform 277"/>
              <p:cNvSpPr>
                <a:spLocks/>
              </p:cNvSpPr>
              <p:nvPr/>
            </p:nvSpPr>
            <p:spPr bwMode="auto">
              <a:xfrm>
                <a:off x="-1304676" y="3149173"/>
                <a:ext cx="7825" cy="2459"/>
              </a:xfrm>
              <a:custGeom>
                <a:avLst/>
                <a:gdLst>
                  <a:gd name="T0" fmla="*/ 1 w 2"/>
                  <a:gd name="T1" fmla="*/ 0 h 1"/>
                  <a:gd name="T2" fmla="*/ 0 w 2"/>
                  <a:gd name="T3" fmla="*/ 0 h 1"/>
                  <a:gd name="T4" fmla="*/ 1 w 2"/>
                  <a:gd name="T5" fmla="*/ 1 h 1"/>
                  <a:gd name="T6" fmla="*/ 2 w 2"/>
                  <a:gd name="T7" fmla="*/ 1 h 1"/>
                  <a:gd name="T8" fmla="*/ 2 w 2"/>
                  <a:gd name="T9" fmla="*/ 0 h 1"/>
                  <a:gd name="T10" fmla="*/ 2 w 2"/>
                  <a:gd name="T11" fmla="*/ 0 h 1"/>
                  <a:gd name="T12" fmla="*/ 1 w 2"/>
                  <a:gd name="T13" fmla="*/ 0 h 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22" name="Freeform 278"/>
              <p:cNvSpPr>
                <a:spLocks/>
              </p:cNvSpPr>
              <p:nvPr/>
            </p:nvSpPr>
            <p:spPr bwMode="auto">
              <a:xfrm>
                <a:off x="-1302068" y="3149173"/>
                <a:ext cx="5217" cy="2459"/>
              </a:xfrm>
              <a:custGeom>
                <a:avLst/>
                <a:gdLst>
                  <a:gd name="T0" fmla="*/ 1 w 1"/>
                  <a:gd name="T1" fmla="*/ 0 h 2459"/>
                  <a:gd name="T2" fmla="*/ 0 w 1"/>
                  <a:gd name="T3" fmla="*/ 0 h 2459"/>
                  <a:gd name="T4" fmla="*/ 1 w 1"/>
                  <a:gd name="T5" fmla="*/ 0 h 2459"/>
                  <a:gd name="T6" fmla="*/ 1 w 1"/>
                  <a:gd name="T7" fmla="*/ 0 h 2459"/>
                  <a:gd name="T8" fmla="*/ 1 w 1"/>
                  <a:gd name="T9" fmla="*/ 0 h 245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2459">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23" name="Freeform 279"/>
              <p:cNvSpPr>
                <a:spLocks/>
              </p:cNvSpPr>
              <p:nvPr/>
            </p:nvSpPr>
            <p:spPr bwMode="auto">
              <a:xfrm>
                <a:off x="-3871397" y="3149173"/>
                <a:ext cx="2608" cy="2459"/>
              </a:xfrm>
              <a:custGeom>
                <a:avLst/>
                <a:gdLst>
                  <a:gd name="T0" fmla="*/ 1 w 1"/>
                  <a:gd name="T1" fmla="*/ 0 h 1"/>
                  <a:gd name="T2" fmla="*/ 0 w 1"/>
                  <a:gd name="T3" fmla="*/ 0 h 1"/>
                  <a:gd name="T4" fmla="*/ 0 w 1"/>
                  <a:gd name="T5" fmla="*/ 1 h 1"/>
                  <a:gd name="T6" fmla="*/ 1 w 1"/>
                  <a:gd name="T7" fmla="*/ 1 h 1"/>
                  <a:gd name="T8" fmla="*/ 1 w 1"/>
                  <a:gd name="T9" fmla="*/ 0 h 1"/>
                  <a:gd name="T10" fmla="*/ 1 w 1"/>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24" name="Freeform 280"/>
              <p:cNvSpPr>
                <a:spLocks/>
              </p:cNvSpPr>
              <p:nvPr/>
            </p:nvSpPr>
            <p:spPr bwMode="auto">
              <a:xfrm>
                <a:off x="-5676448" y="2593261"/>
                <a:ext cx="1614633" cy="2508986"/>
              </a:xfrm>
              <a:custGeom>
                <a:avLst/>
                <a:gdLst>
                  <a:gd name="T0" fmla="*/ 104 w 429"/>
                  <a:gd name="T1" fmla="*/ 6 h 667"/>
                  <a:gd name="T2" fmla="*/ 177 w 429"/>
                  <a:gd name="T3" fmla="*/ 34 h 667"/>
                  <a:gd name="T4" fmla="*/ 216 w 429"/>
                  <a:gd name="T5" fmla="*/ 87 h 667"/>
                  <a:gd name="T6" fmla="*/ 211 w 429"/>
                  <a:gd name="T7" fmla="*/ 41 h 667"/>
                  <a:gd name="T8" fmla="*/ 238 w 429"/>
                  <a:gd name="T9" fmla="*/ 57 h 667"/>
                  <a:gd name="T10" fmla="*/ 242 w 429"/>
                  <a:gd name="T11" fmla="*/ 47 h 667"/>
                  <a:gd name="T12" fmla="*/ 276 w 429"/>
                  <a:gd name="T13" fmla="*/ 86 h 667"/>
                  <a:gd name="T14" fmla="*/ 257 w 429"/>
                  <a:gd name="T15" fmla="*/ 108 h 667"/>
                  <a:gd name="T16" fmla="*/ 269 w 429"/>
                  <a:gd name="T17" fmla="*/ 119 h 667"/>
                  <a:gd name="T18" fmla="*/ 236 w 429"/>
                  <a:gd name="T19" fmla="*/ 155 h 667"/>
                  <a:gd name="T20" fmla="*/ 229 w 429"/>
                  <a:gd name="T21" fmla="*/ 230 h 667"/>
                  <a:gd name="T22" fmla="*/ 230 w 429"/>
                  <a:gd name="T23" fmla="*/ 230 h 667"/>
                  <a:gd name="T24" fmla="*/ 225 w 429"/>
                  <a:gd name="T25" fmla="*/ 221 h 667"/>
                  <a:gd name="T26" fmla="*/ 177 w 429"/>
                  <a:gd name="T27" fmla="*/ 269 h 667"/>
                  <a:gd name="T28" fmla="*/ 201 w 429"/>
                  <a:gd name="T29" fmla="*/ 277 h 667"/>
                  <a:gd name="T30" fmla="*/ 215 w 429"/>
                  <a:gd name="T31" fmla="*/ 282 h 667"/>
                  <a:gd name="T32" fmla="*/ 225 w 429"/>
                  <a:gd name="T33" fmla="*/ 313 h 667"/>
                  <a:gd name="T34" fmla="*/ 319 w 429"/>
                  <a:gd name="T35" fmla="*/ 323 h 667"/>
                  <a:gd name="T36" fmla="*/ 378 w 429"/>
                  <a:gd name="T37" fmla="*/ 381 h 667"/>
                  <a:gd name="T38" fmla="*/ 301 w 429"/>
                  <a:gd name="T39" fmla="*/ 662 h 667"/>
                  <a:gd name="T40" fmla="*/ 303 w 429"/>
                  <a:gd name="T41" fmla="*/ 663 h 667"/>
                  <a:gd name="T42" fmla="*/ 303 w 429"/>
                  <a:gd name="T43" fmla="*/ 663 h 667"/>
                  <a:gd name="T44" fmla="*/ 250 w 429"/>
                  <a:gd name="T45" fmla="*/ 346 h 667"/>
                  <a:gd name="T46" fmla="*/ 203 w 429"/>
                  <a:gd name="T47" fmla="*/ 293 h 667"/>
                  <a:gd name="T48" fmla="*/ 112 w 429"/>
                  <a:gd name="T49" fmla="*/ 200 h 667"/>
                  <a:gd name="T50" fmla="*/ 118 w 429"/>
                  <a:gd name="T51" fmla="*/ 241 h 667"/>
                  <a:gd name="T52" fmla="*/ 117 w 429"/>
                  <a:gd name="T53" fmla="*/ 239 h 667"/>
                  <a:gd name="T54" fmla="*/ 120 w 429"/>
                  <a:gd name="T55" fmla="*/ 239 h 667"/>
                  <a:gd name="T56" fmla="*/ 63 w 429"/>
                  <a:gd name="T57" fmla="*/ 48 h 667"/>
                  <a:gd name="T58" fmla="*/ 3 w 429"/>
                  <a:gd name="T59" fmla="*/ 64 h 667"/>
                  <a:gd name="T60" fmla="*/ 5 w 429"/>
                  <a:gd name="T61" fmla="*/ 65 h 667"/>
                  <a:gd name="T62" fmla="*/ 9 w 429"/>
                  <a:gd name="T63" fmla="*/ 43 h 667"/>
                  <a:gd name="T64" fmla="*/ 6 w 429"/>
                  <a:gd name="T65" fmla="*/ 35 h 667"/>
                  <a:gd name="T66" fmla="*/ 0 w 429"/>
                  <a:gd name="T67" fmla="*/ 65 h 667"/>
                  <a:gd name="T68" fmla="*/ 66 w 429"/>
                  <a:gd name="T69" fmla="*/ 52 h 667"/>
                  <a:gd name="T70" fmla="*/ 117 w 429"/>
                  <a:gd name="T71" fmla="*/ 243 h 667"/>
                  <a:gd name="T72" fmla="*/ 110 w 429"/>
                  <a:gd name="T73" fmla="*/ 201 h 667"/>
                  <a:gd name="T74" fmla="*/ 109 w 429"/>
                  <a:gd name="T75" fmla="*/ 201 h 667"/>
                  <a:gd name="T76" fmla="*/ 129 w 429"/>
                  <a:gd name="T77" fmla="*/ 238 h 667"/>
                  <a:gd name="T78" fmla="*/ 218 w 429"/>
                  <a:gd name="T79" fmla="*/ 323 h 667"/>
                  <a:gd name="T80" fmla="*/ 237 w 429"/>
                  <a:gd name="T81" fmla="*/ 397 h 667"/>
                  <a:gd name="T82" fmla="*/ 306 w 429"/>
                  <a:gd name="T83" fmla="*/ 662 h 667"/>
                  <a:gd name="T84" fmla="*/ 378 w 429"/>
                  <a:gd name="T85" fmla="*/ 377 h 667"/>
                  <a:gd name="T86" fmla="*/ 320 w 429"/>
                  <a:gd name="T87" fmla="*/ 319 h 667"/>
                  <a:gd name="T88" fmla="*/ 229 w 429"/>
                  <a:gd name="T89" fmla="*/ 311 h 667"/>
                  <a:gd name="T90" fmla="*/ 211 w 429"/>
                  <a:gd name="T91" fmla="*/ 280 h 667"/>
                  <a:gd name="T92" fmla="*/ 192 w 429"/>
                  <a:gd name="T93" fmla="*/ 260 h 667"/>
                  <a:gd name="T94" fmla="*/ 216 w 429"/>
                  <a:gd name="T95" fmla="*/ 212 h 667"/>
                  <a:gd name="T96" fmla="*/ 233 w 429"/>
                  <a:gd name="T97" fmla="*/ 219 h 667"/>
                  <a:gd name="T98" fmla="*/ 261 w 429"/>
                  <a:gd name="T99" fmla="*/ 123 h 667"/>
                  <a:gd name="T100" fmla="*/ 254 w 429"/>
                  <a:gd name="T101" fmla="*/ 105 h 667"/>
                  <a:gd name="T102" fmla="*/ 255 w 429"/>
                  <a:gd name="T103" fmla="*/ 106 h 667"/>
                  <a:gd name="T104" fmla="*/ 242 w 429"/>
                  <a:gd name="T105" fmla="*/ 43 h 667"/>
                  <a:gd name="T106" fmla="*/ 207 w 429"/>
                  <a:gd name="T107" fmla="*/ 44 h 667"/>
                  <a:gd name="T108" fmla="*/ 213 w 429"/>
                  <a:gd name="T109" fmla="*/ 88 h 667"/>
                  <a:gd name="T110" fmla="*/ 214 w 429"/>
                  <a:gd name="T111" fmla="*/ 89 h 667"/>
                  <a:gd name="T112" fmla="*/ 177 w 429"/>
                  <a:gd name="T113" fmla="*/ 47 h 667"/>
                  <a:gd name="T114" fmla="*/ 108 w 429"/>
                  <a:gd name="T115" fmla="*/ 1 h 667"/>
                  <a:gd name="T116" fmla="*/ 38 w 429"/>
                  <a:gd name="T117" fmla="*/ 6 h 66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25" name="Freeform 281"/>
              <p:cNvSpPr>
                <a:spLocks/>
              </p:cNvSpPr>
              <p:nvPr/>
            </p:nvSpPr>
            <p:spPr bwMode="auto">
              <a:xfrm>
                <a:off x="-5011293" y="2548984"/>
                <a:ext cx="232153" cy="186944"/>
              </a:xfrm>
              <a:custGeom>
                <a:avLst/>
                <a:gdLst>
                  <a:gd name="T0" fmla="*/ 8 w 61"/>
                  <a:gd name="T1" fmla="*/ 4 h 50"/>
                  <a:gd name="T2" fmla="*/ 36 w 61"/>
                  <a:gd name="T3" fmla="*/ 15 h 50"/>
                  <a:gd name="T4" fmla="*/ 48 w 61"/>
                  <a:gd name="T5" fmla="*/ 28 h 50"/>
                  <a:gd name="T6" fmla="*/ 53 w 61"/>
                  <a:gd name="T7" fmla="*/ 30 h 50"/>
                  <a:gd name="T8" fmla="*/ 54 w 61"/>
                  <a:gd name="T9" fmla="*/ 31 h 50"/>
                  <a:gd name="T10" fmla="*/ 57 w 61"/>
                  <a:gd name="T11" fmla="*/ 33 h 50"/>
                  <a:gd name="T12" fmla="*/ 57 w 61"/>
                  <a:gd name="T13" fmla="*/ 33 h 50"/>
                  <a:gd name="T14" fmla="*/ 57 w 61"/>
                  <a:gd name="T15" fmla="*/ 33 h 50"/>
                  <a:gd name="T16" fmla="*/ 57 w 61"/>
                  <a:gd name="T17" fmla="*/ 33 h 50"/>
                  <a:gd name="T18" fmla="*/ 56 w 61"/>
                  <a:gd name="T19" fmla="*/ 33 h 50"/>
                  <a:gd name="T20" fmla="*/ 55 w 61"/>
                  <a:gd name="T21" fmla="*/ 33 h 50"/>
                  <a:gd name="T22" fmla="*/ 53 w 61"/>
                  <a:gd name="T23" fmla="*/ 38 h 50"/>
                  <a:gd name="T24" fmla="*/ 55 w 61"/>
                  <a:gd name="T25" fmla="*/ 42 h 50"/>
                  <a:gd name="T26" fmla="*/ 56 w 61"/>
                  <a:gd name="T27" fmla="*/ 46 h 50"/>
                  <a:gd name="T28" fmla="*/ 56 w 61"/>
                  <a:gd name="T29" fmla="*/ 46 h 50"/>
                  <a:gd name="T30" fmla="*/ 56 w 61"/>
                  <a:gd name="T31" fmla="*/ 46 h 50"/>
                  <a:gd name="T32" fmla="*/ 56 w 61"/>
                  <a:gd name="T33" fmla="*/ 46 h 50"/>
                  <a:gd name="T34" fmla="*/ 57 w 61"/>
                  <a:gd name="T35" fmla="*/ 45 h 50"/>
                  <a:gd name="T36" fmla="*/ 57 w 61"/>
                  <a:gd name="T37" fmla="*/ 45 h 50"/>
                  <a:gd name="T38" fmla="*/ 57 w 61"/>
                  <a:gd name="T39" fmla="*/ 45 h 50"/>
                  <a:gd name="T40" fmla="*/ 53 w 61"/>
                  <a:gd name="T41" fmla="*/ 45 h 50"/>
                  <a:gd name="T42" fmla="*/ 33 w 61"/>
                  <a:gd name="T43" fmla="*/ 36 h 50"/>
                  <a:gd name="T44" fmla="*/ 34 w 61"/>
                  <a:gd name="T45" fmla="*/ 34 h 50"/>
                  <a:gd name="T46" fmla="*/ 37 w 61"/>
                  <a:gd name="T47" fmla="*/ 30 h 50"/>
                  <a:gd name="T48" fmla="*/ 33 w 61"/>
                  <a:gd name="T49" fmla="*/ 19 h 50"/>
                  <a:gd name="T50" fmla="*/ 19 w 61"/>
                  <a:gd name="T51" fmla="*/ 12 h 50"/>
                  <a:gd name="T52" fmla="*/ 12 w 61"/>
                  <a:gd name="T53" fmla="*/ 12 h 50"/>
                  <a:gd name="T54" fmla="*/ 4 w 61"/>
                  <a:gd name="T55" fmla="*/ 7 h 50"/>
                  <a:gd name="T56" fmla="*/ 3 w 61"/>
                  <a:gd name="T57" fmla="*/ 4 h 50"/>
                  <a:gd name="T58" fmla="*/ 1 w 61"/>
                  <a:gd name="T59" fmla="*/ 9 h 50"/>
                  <a:gd name="T60" fmla="*/ 9 w 61"/>
                  <a:gd name="T61" fmla="*/ 15 h 50"/>
                  <a:gd name="T62" fmla="*/ 19 w 61"/>
                  <a:gd name="T63" fmla="*/ 16 h 50"/>
                  <a:gd name="T64" fmla="*/ 29 w 61"/>
                  <a:gd name="T65" fmla="*/ 22 h 50"/>
                  <a:gd name="T66" fmla="*/ 33 w 61"/>
                  <a:gd name="T67" fmla="*/ 30 h 50"/>
                  <a:gd name="T68" fmla="*/ 33 w 61"/>
                  <a:gd name="T69" fmla="*/ 31 h 50"/>
                  <a:gd name="T70" fmla="*/ 33 w 61"/>
                  <a:gd name="T71" fmla="*/ 31 h 50"/>
                  <a:gd name="T72" fmla="*/ 34 w 61"/>
                  <a:gd name="T73" fmla="*/ 30 h 50"/>
                  <a:gd name="T74" fmla="*/ 34 w 61"/>
                  <a:gd name="T75" fmla="*/ 30 h 50"/>
                  <a:gd name="T76" fmla="*/ 31 w 61"/>
                  <a:gd name="T77" fmla="*/ 40 h 50"/>
                  <a:gd name="T78" fmla="*/ 56 w 61"/>
                  <a:gd name="T79" fmla="*/ 50 h 50"/>
                  <a:gd name="T80" fmla="*/ 60 w 61"/>
                  <a:gd name="T81" fmla="*/ 48 h 50"/>
                  <a:gd name="T82" fmla="*/ 60 w 61"/>
                  <a:gd name="T83" fmla="*/ 42 h 50"/>
                  <a:gd name="T84" fmla="*/ 56 w 61"/>
                  <a:gd name="T85" fmla="*/ 37 h 50"/>
                  <a:gd name="T86" fmla="*/ 56 w 61"/>
                  <a:gd name="T87" fmla="*/ 36 h 50"/>
                  <a:gd name="T88" fmla="*/ 56 w 61"/>
                  <a:gd name="T89" fmla="*/ 36 h 50"/>
                  <a:gd name="T90" fmla="*/ 56 w 61"/>
                  <a:gd name="T91" fmla="*/ 37 h 50"/>
                  <a:gd name="T92" fmla="*/ 56 w 61"/>
                  <a:gd name="T93" fmla="*/ 37 h 50"/>
                  <a:gd name="T94" fmla="*/ 56 w 61"/>
                  <a:gd name="T95" fmla="*/ 37 h 50"/>
                  <a:gd name="T96" fmla="*/ 55 w 61"/>
                  <a:gd name="T97" fmla="*/ 37 h 50"/>
                  <a:gd name="T98" fmla="*/ 55 w 61"/>
                  <a:gd name="T99" fmla="*/ 37 h 50"/>
                  <a:gd name="T100" fmla="*/ 55 w 61"/>
                  <a:gd name="T101" fmla="*/ 37 h 50"/>
                  <a:gd name="T102" fmla="*/ 61 w 61"/>
                  <a:gd name="T103" fmla="*/ 34 h 50"/>
                  <a:gd name="T104" fmla="*/ 56 w 61"/>
                  <a:gd name="T105" fmla="*/ 27 h 50"/>
                  <a:gd name="T106" fmla="*/ 55 w 61"/>
                  <a:gd name="T107" fmla="*/ 26 h 50"/>
                  <a:gd name="T108" fmla="*/ 51 w 61"/>
                  <a:gd name="T109" fmla="*/ 24 h 50"/>
                  <a:gd name="T110" fmla="*/ 39 w 61"/>
                  <a:gd name="T111" fmla="*/ 11 h 50"/>
                  <a:gd name="T112" fmla="*/ 8 w 61"/>
                  <a:gd name="T113" fmla="*/ 0 h 5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26" name="Freeform 282"/>
              <p:cNvSpPr>
                <a:spLocks/>
              </p:cNvSpPr>
              <p:nvPr/>
            </p:nvSpPr>
            <p:spPr bwMode="auto">
              <a:xfrm>
                <a:off x="-4938256" y="2428454"/>
                <a:ext cx="383444" cy="341912"/>
              </a:xfrm>
              <a:custGeom>
                <a:avLst/>
                <a:gdLst>
                  <a:gd name="T0" fmla="*/ 5 w 102"/>
                  <a:gd name="T1" fmla="*/ 9 h 91"/>
                  <a:gd name="T2" fmla="*/ 5 w 102"/>
                  <a:gd name="T3" fmla="*/ 9 h 91"/>
                  <a:gd name="T4" fmla="*/ 5 w 102"/>
                  <a:gd name="T5" fmla="*/ 9 h 91"/>
                  <a:gd name="T6" fmla="*/ 6 w 102"/>
                  <a:gd name="T7" fmla="*/ 8 h 91"/>
                  <a:gd name="T8" fmla="*/ 19 w 102"/>
                  <a:gd name="T9" fmla="*/ 11 h 91"/>
                  <a:gd name="T10" fmla="*/ 25 w 102"/>
                  <a:gd name="T11" fmla="*/ 5 h 91"/>
                  <a:gd name="T12" fmla="*/ 25 w 102"/>
                  <a:gd name="T13" fmla="*/ 5 h 91"/>
                  <a:gd name="T14" fmla="*/ 36 w 102"/>
                  <a:gd name="T15" fmla="*/ 7 h 91"/>
                  <a:gd name="T16" fmla="*/ 53 w 102"/>
                  <a:gd name="T17" fmla="*/ 14 h 91"/>
                  <a:gd name="T18" fmla="*/ 60 w 102"/>
                  <a:gd name="T19" fmla="*/ 13 h 91"/>
                  <a:gd name="T20" fmla="*/ 93 w 102"/>
                  <a:gd name="T21" fmla="*/ 33 h 91"/>
                  <a:gd name="T22" fmla="*/ 98 w 102"/>
                  <a:gd name="T23" fmla="*/ 59 h 91"/>
                  <a:gd name="T24" fmla="*/ 93 w 102"/>
                  <a:gd name="T25" fmla="*/ 72 h 91"/>
                  <a:gd name="T26" fmla="*/ 96 w 102"/>
                  <a:gd name="T27" fmla="*/ 87 h 91"/>
                  <a:gd name="T28" fmla="*/ 96 w 102"/>
                  <a:gd name="T29" fmla="*/ 87 h 91"/>
                  <a:gd name="T30" fmla="*/ 97 w 102"/>
                  <a:gd name="T31" fmla="*/ 87 h 91"/>
                  <a:gd name="T32" fmla="*/ 97 w 102"/>
                  <a:gd name="T33" fmla="*/ 87 h 91"/>
                  <a:gd name="T34" fmla="*/ 97 w 102"/>
                  <a:gd name="T35" fmla="*/ 87 h 91"/>
                  <a:gd name="T36" fmla="*/ 65 w 102"/>
                  <a:gd name="T37" fmla="*/ 60 h 91"/>
                  <a:gd name="T38" fmla="*/ 57 w 102"/>
                  <a:gd name="T39" fmla="*/ 42 h 91"/>
                  <a:gd name="T40" fmla="*/ 30 w 102"/>
                  <a:gd name="T41" fmla="*/ 23 h 91"/>
                  <a:gd name="T42" fmla="*/ 12 w 102"/>
                  <a:gd name="T43" fmla="*/ 23 h 91"/>
                  <a:gd name="T44" fmla="*/ 11 w 102"/>
                  <a:gd name="T45" fmla="*/ 22 h 91"/>
                  <a:gd name="T46" fmla="*/ 10 w 102"/>
                  <a:gd name="T47" fmla="*/ 22 h 91"/>
                  <a:gd name="T48" fmla="*/ 11 w 102"/>
                  <a:gd name="T49" fmla="*/ 22 h 91"/>
                  <a:gd name="T50" fmla="*/ 11 w 102"/>
                  <a:gd name="T51" fmla="*/ 21 h 91"/>
                  <a:gd name="T52" fmla="*/ 5 w 102"/>
                  <a:gd name="T53" fmla="*/ 15 h 91"/>
                  <a:gd name="T54" fmla="*/ 4 w 102"/>
                  <a:gd name="T55" fmla="*/ 16 h 91"/>
                  <a:gd name="T56" fmla="*/ 5 w 102"/>
                  <a:gd name="T57" fmla="*/ 16 h 91"/>
                  <a:gd name="T58" fmla="*/ 5 w 102"/>
                  <a:gd name="T59" fmla="*/ 9 h 91"/>
                  <a:gd name="T60" fmla="*/ 2 w 102"/>
                  <a:gd name="T61" fmla="*/ 13 h 91"/>
                  <a:gd name="T62" fmla="*/ 6 w 102"/>
                  <a:gd name="T63" fmla="*/ 20 h 91"/>
                  <a:gd name="T64" fmla="*/ 8 w 102"/>
                  <a:gd name="T65" fmla="*/ 26 h 91"/>
                  <a:gd name="T66" fmla="*/ 24 w 102"/>
                  <a:gd name="T67" fmla="*/ 27 h 91"/>
                  <a:gd name="T68" fmla="*/ 43 w 102"/>
                  <a:gd name="T69" fmla="*/ 37 h 91"/>
                  <a:gd name="T70" fmla="*/ 59 w 102"/>
                  <a:gd name="T71" fmla="*/ 54 h 91"/>
                  <a:gd name="T72" fmla="*/ 93 w 102"/>
                  <a:gd name="T73" fmla="*/ 90 h 91"/>
                  <a:gd name="T74" fmla="*/ 100 w 102"/>
                  <a:gd name="T75" fmla="*/ 84 h 91"/>
                  <a:gd name="T76" fmla="*/ 98 w 102"/>
                  <a:gd name="T77" fmla="*/ 69 h 91"/>
                  <a:gd name="T78" fmla="*/ 102 w 102"/>
                  <a:gd name="T79" fmla="*/ 58 h 91"/>
                  <a:gd name="T80" fmla="*/ 70 w 102"/>
                  <a:gd name="T81" fmla="*/ 16 h 91"/>
                  <a:gd name="T82" fmla="*/ 58 w 102"/>
                  <a:gd name="T83" fmla="*/ 8 h 91"/>
                  <a:gd name="T84" fmla="*/ 50 w 102"/>
                  <a:gd name="T85" fmla="*/ 10 h 91"/>
                  <a:gd name="T86" fmla="*/ 50 w 102"/>
                  <a:gd name="T87" fmla="*/ 11 h 91"/>
                  <a:gd name="T88" fmla="*/ 46 w 102"/>
                  <a:gd name="T89" fmla="*/ 9 h 91"/>
                  <a:gd name="T90" fmla="*/ 24 w 102"/>
                  <a:gd name="T91" fmla="*/ 1 h 91"/>
                  <a:gd name="T92" fmla="*/ 19 w 102"/>
                  <a:gd name="T93" fmla="*/ 7 h 91"/>
                  <a:gd name="T94" fmla="*/ 19 w 102"/>
                  <a:gd name="T95" fmla="*/ 7 h 91"/>
                  <a:gd name="T96" fmla="*/ 19 w 102"/>
                  <a:gd name="T97" fmla="*/ 7 h 91"/>
                  <a:gd name="T98" fmla="*/ 4 w 102"/>
                  <a:gd name="T99" fmla="*/ 4 h 91"/>
                  <a:gd name="T100" fmla="*/ 2 w 102"/>
                  <a:gd name="T101" fmla="*/ 12 h 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27" name="Freeform 283"/>
              <p:cNvSpPr>
                <a:spLocks/>
              </p:cNvSpPr>
              <p:nvPr/>
            </p:nvSpPr>
            <p:spPr bwMode="auto">
              <a:xfrm>
                <a:off x="-3746191" y="2502248"/>
                <a:ext cx="2042420" cy="2208892"/>
              </a:xfrm>
              <a:custGeom>
                <a:avLst/>
                <a:gdLst>
                  <a:gd name="T0" fmla="*/ 149 w 544"/>
                  <a:gd name="T1" fmla="*/ 233 h 587"/>
                  <a:gd name="T2" fmla="*/ 200 w 544"/>
                  <a:gd name="T3" fmla="*/ 200 h 587"/>
                  <a:gd name="T4" fmla="*/ 136 w 544"/>
                  <a:gd name="T5" fmla="*/ 153 h 587"/>
                  <a:gd name="T6" fmla="*/ 118 w 544"/>
                  <a:gd name="T7" fmla="*/ 159 h 587"/>
                  <a:gd name="T8" fmla="*/ 91 w 544"/>
                  <a:gd name="T9" fmla="*/ 153 h 587"/>
                  <a:gd name="T10" fmla="*/ 125 w 544"/>
                  <a:gd name="T11" fmla="*/ 110 h 587"/>
                  <a:gd name="T12" fmla="*/ 135 w 544"/>
                  <a:gd name="T13" fmla="*/ 95 h 587"/>
                  <a:gd name="T14" fmla="*/ 144 w 544"/>
                  <a:gd name="T15" fmla="*/ 108 h 587"/>
                  <a:gd name="T16" fmla="*/ 176 w 544"/>
                  <a:gd name="T17" fmla="*/ 71 h 587"/>
                  <a:gd name="T18" fmla="*/ 146 w 544"/>
                  <a:gd name="T19" fmla="*/ 91 h 587"/>
                  <a:gd name="T20" fmla="*/ 186 w 544"/>
                  <a:gd name="T21" fmla="*/ 35 h 587"/>
                  <a:gd name="T22" fmla="*/ 206 w 544"/>
                  <a:gd name="T23" fmla="*/ 57 h 587"/>
                  <a:gd name="T24" fmla="*/ 376 w 544"/>
                  <a:gd name="T25" fmla="*/ 30 h 587"/>
                  <a:gd name="T26" fmla="*/ 540 w 544"/>
                  <a:gd name="T27" fmla="*/ 125 h 587"/>
                  <a:gd name="T28" fmla="*/ 499 w 544"/>
                  <a:gd name="T29" fmla="*/ 130 h 587"/>
                  <a:gd name="T30" fmla="*/ 471 w 544"/>
                  <a:gd name="T31" fmla="*/ 177 h 587"/>
                  <a:gd name="T32" fmla="*/ 513 w 544"/>
                  <a:gd name="T33" fmla="*/ 269 h 587"/>
                  <a:gd name="T34" fmla="*/ 475 w 544"/>
                  <a:gd name="T35" fmla="*/ 332 h 587"/>
                  <a:gd name="T36" fmla="*/ 488 w 544"/>
                  <a:gd name="T37" fmla="*/ 385 h 587"/>
                  <a:gd name="T38" fmla="*/ 462 w 544"/>
                  <a:gd name="T39" fmla="*/ 329 h 587"/>
                  <a:gd name="T40" fmla="*/ 380 w 544"/>
                  <a:gd name="T41" fmla="*/ 349 h 587"/>
                  <a:gd name="T42" fmla="*/ 380 w 544"/>
                  <a:gd name="T43" fmla="*/ 350 h 587"/>
                  <a:gd name="T44" fmla="*/ 260 w 544"/>
                  <a:gd name="T45" fmla="*/ 232 h 587"/>
                  <a:gd name="T46" fmla="*/ 295 w 544"/>
                  <a:gd name="T47" fmla="*/ 281 h 587"/>
                  <a:gd name="T48" fmla="*/ 236 w 544"/>
                  <a:gd name="T49" fmla="*/ 336 h 587"/>
                  <a:gd name="T50" fmla="*/ 223 w 544"/>
                  <a:gd name="T51" fmla="*/ 451 h 587"/>
                  <a:gd name="T52" fmla="*/ 142 w 544"/>
                  <a:gd name="T53" fmla="*/ 582 h 587"/>
                  <a:gd name="T54" fmla="*/ 71 w 544"/>
                  <a:gd name="T55" fmla="*/ 361 h 587"/>
                  <a:gd name="T56" fmla="*/ 73 w 544"/>
                  <a:gd name="T57" fmla="*/ 364 h 587"/>
                  <a:gd name="T58" fmla="*/ 142 w 544"/>
                  <a:gd name="T59" fmla="*/ 587 h 587"/>
                  <a:gd name="T60" fmla="*/ 226 w 544"/>
                  <a:gd name="T61" fmla="*/ 449 h 587"/>
                  <a:gd name="T62" fmla="*/ 239 w 544"/>
                  <a:gd name="T63" fmla="*/ 332 h 587"/>
                  <a:gd name="T64" fmla="*/ 206 w 544"/>
                  <a:gd name="T65" fmla="*/ 251 h 587"/>
                  <a:gd name="T66" fmla="*/ 301 w 544"/>
                  <a:gd name="T67" fmla="*/ 278 h 587"/>
                  <a:gd name="T68" fmla="*/ 298 w 544"/>
                  <a:gd name="T69" fmla="*/ 266 h 587"/>
                  <a:gd name="T70" fmla="*/ 376 w 544"/>
                  <a:gd name="T71" fmla="*/ 350 h 587"/>
                  <a:gd name="T72" fmla="*/ 459 w 544"/>
                  <a:gd name="T73" fmla="*/ 336 h 587"/>
                  <a:gd name="T74" fmla="*/ 473 w 544"/>
                  <a:gd name="T75" fmla="*/ 335 h 587"/>
                  <a:gd name="T76" fmla="*/ 473 w 544"/>
                  <a:gd name="T77" fmla="*/ 336 h 587"/>
                  <a:gd name="T78" fmla="*/ 516 w 544"/>
                  <a:gd name="T79" fmla="*/ 242 h 587"/>
                  <a:gd name="T80" fmla="*/ 475 w 544"/>
                  <a:gd name="T81" fmla="*/ 179 h 587"/>
                  <a:gd name="T82" fmla="*/ 501 w 544"/>
                  <a:gd name="T83" fmla="*/ 123 h 587"/>
                  <a:gd name="T84" fmla="*/ 542 w 544"/>
                  <a:gd name="T85" fmla="*/ 118 h 587"/>
                  <a:gd name="T86" fmla="*/ 299 w 544"/>
                  <a:gd name="T87" fmla="*/ 0 h 587"/>
                  <a:gd name="T88" fmla="*/ 199 w 544"/>
                  <a:gd name="T89" fmla="*/ 48 h 587"/>
                  <a:gd name="T90" fmla="*/ 197 w 544"/>
                  <a:gd name="T91" fmla="*/ 48 h 587"/>
                  <a:gd name="T92" fmla="*/ 206 w 544"/>
                  <a:gd name="T93" fmla="*/ 38 h 587"/>
                  <a:gd name="T94" fmla="*/ 138 w 544"/>
                  <a:gd name="T95" fmla="*/ 85 h 587"/>
                  <a:gd name="T96" fmla="*/ 171 w 544"/>
                  <a:gd name="T97" fmla="*/ 57 h 587"/>
                  <a:gd name="T98" fmla="*/ 175 w 544"/>
                  <a:gd name="T99" fmla="*/ 75 h 587"/>
                  <a:gd name="T100" fmla="*/ 182 w 544"/>
                  <a:gd name="T101" fmla="*/ 74 h 587"/>
                  <a:gd name="T102" fmla="*/ 145 w 544"/>
                  <a:gd name="T103" fmla="*/ 106 h 587"/>
                  <a:gd name="T104" fmla="*/ 125 w 544"/>
                  <a:gd name="T105" fmla="*/ 106 h 587"/>
                  <a:gd name="T106" fmla="*/ 68 w 544"/>
                  <a:gd name="T107" fmla="*/ 160 h 587"/>
                  <a:gd name="T108" fmla="*/ 134 w 544"/>
                  <a:gd name="T109" fmla="*/ 185 h 587"/>
                  <a:gd name="T110" fmla="*/ 139 w 544"/>
                  <a:gd name="T111" fmla="*/ 157 h 587"/>
                  <a:gd name="T112" fmla="*/ 171 w 544"/>
                  <a:gd name="T113" fmla="*/ 181 h 587"/>
                  <a:gd name="T114" fmla="*/ 173 w 544"/>
                  <a:gd name="T115" fmla="*/ 187 h 587"/>
                  <a:gd name="T116" fmla="*/ 195 w 544"/>
                  <a:gd name="T117" fmla="*/ 229 h 587"/>
                  <a:gd name="T118" fmla="*/ 122 w 544"/>
                  <a:gd name="T119" fmla="*/ 196 h 58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28" name="Freeform 284"/>
              <p:cNvSpPr>
                <a:spLocks/>
              </p:cNvSpPr>
              <p:nvPr/>
            </p:nvSpPr>
            <p:spPr bwMode="auto">
              <a:xfrm>
                <a:off x="-3751408" y="2445673"/>
                <a:ext cx="508648" cy="324692"/>
              </a:xfrm>
              <a:custGeom>
                <a:avLst/>
                <a:gdLst>
                  <a:gd name="T0" fmla="*/ 6 w 135"/>
                  <a:gd name="T1" fmla="*/ 86 h 86"/>
                  <a:gd name="T2" fmla="*/ 11 w 135"/>
                  <a:gd name="T3" fmla="*/ 85 h 86"/>
                  <a:gd name="T4" fmla="*/ 10 w 135"/>
                  <a:gd name="T5" fmla="*/ 84 h 86"/>
                  <a:gd name="T6" fmla="*/ 10 w 135"/>
                  <a:gd name="T7" fmla="*/ 84 h 86"/>
                  <a:gd name="T8" fmla="*/ 10 w 135"/>
                  <a:gd name="T9" fmla="*/ 84 h 86"/>
                  <a:gd name="T10" fmla="*/ 11 w 135"/>
                  <a:gd name="T11" fmla="*/ 86 h 86"/>
                  <a:gd name="T12" fmla="*/ 19 w 135"/>
                  <a:gd name="T13" fmla="*/ 83 h 86"/>
                  <a:gd name="T14" fmla="*/ 34 w 135"/>
                  <a:gd name="T15" fmla="*/ 70 h 86"/>
                  <a:gd name="T16" fmla="*/ 69 w 135"/>
                  <a:gd name="T17" fmla="*/ 53 h 86"/>
                  <a:gd name="T18" fmla="*/ 84 w 135"/>
                  <a:gd name="T19" fmla="*/ 55 h 86"/>
                  <a:gd name="T20" fmla="*/ 87 w 135"/>
                  <a:gd name="T21" fmla="*/ 47 h 86"/>
                  <a:gd name="T22" fmla="*/ 84 w 135"/>
                  <a:gd name="T23" fmla="*/ 42 h 86"/>
                  <a:gd name="T24" fmla="*/ 84 w 135"/>
                  <a:gd name="T25" fmla="*/ 42 h 86"/>
                  <a:gd name="T26" fmla="*/ 84 w 135"/>
                  <a:gd name="T27" fmla="*/ 41 h 86"/>
                  <a:gd name="T28" fmla="*/ 84 w 135"/>
                  <a:gd name="T29" fmla="*/ 41 h 86"/>
                  <a:gd name="T30" fmla="*/ 88 w 135"/>
                  <a:gd name="T31" fmla="*/ 41 h 86"/>
                  <a:gd name="T32" fmla="*/ 93 w 135"/>
                  <a:gd name="T33" fmla="*/ 40 h 86"/>
                  <a:gd name="T34" fmla="*/ 134 w 135"/>
                  <a:gd name="T35" fmla="*/ 12 h 86"/>
                  <a:gd name="T36" fmla="*/ 131 w 135"/>
                  <a:gd name="T37" fmla="*/ 5 h 86"/>
                  <a:gd name="T38" fmla="*/ 130 w 135"/>
                  <a:gd name="T39" fmla="*/ 9 h 86"/>
                  <a:gd name="T40" fmla="*/ 131 w 135"/>
                  <a:gd name="T41" fmla="*/ 10 h 86"/>
                  <a:gd name="T42" fmla="*/ 131 w 135"/>
                  <a:gd name="T43" fmla="*/ 10 h 86"/>
                  <a:gd name="T44" fmla="*/ 131 w 135"/>
                  <a:gd name="T45" fmla="*/ 10 h 86"/>
                  <a:gd name="T46" fmla="*/ 131 w 135"/>
                  <a:gd name="T47" fmla="*/ 9 h 86"/>
                  <a:gd name="T48" fmla="*/ 131 w 135"/>
                  <a:gd name="T49" fmla="*/ 9 h 86"/>
                  <a:gd name="T50" fmla="*/ 130 w 135"/>
                  <a:gd name="T51" fmla="*/ 10 h 86"/>
                  <a:gd name="T52" fmla="*/ 89 w 135"/>
                  <a:gd name="T53" fmla="*/ 37 h 86"/>
                  <a:gd name="T54" fmla="*/ 84 w 135"/>
                  <a:gd name="T55" fmla="*/ 37 h 86"/>
                  <a:gd name="T56" fmla="*/ 82 w 135"/>
                  <a:gd name="T57" fmla="*/ 48 h 86"/>
                  <a:gd name="T58" fmla="*/ 84 w 135"/>
                  <a:gd name="T59" fmla="*/ 51 h 86"/>
                  <a:gd name="T60" fmla="*/ 84 w 135"/>
                  <a:gd name="T61" fmla="*/ 51 h 86"/>
                  <a:gd name="T62" fmla="*/ 84 w 135"/>
                  <a:gd name="T63" fmla="*/ 51 h 86"/>
                  <a:gd name="T64" fmla="*/ 84 w 135"/>
                  <a:gd name="T65" fmla="*/ 51 h 86"/>
                  <a:gd name="T66" fmla="*/ 84 w 135"/>
                  <a:gd name="T67" fmla="*/ 51 h 86"/>
                  <a:gd name="T68" fmla="*/ 84 w 135"/>
                  <a:gd name="T69" fmla="*/ 51 h 86"/>
                  <a:gd name="T70" fmla="*/ 69 w 135"/>
                  <a:gd name="T71" fmla="*/ 49 h 86"/>
                  <a:gd name="T72" fmla="*/ 31 w 135"/>
                  <a:gd name="T73" fmla="*/ 66 h 86"/>
                  <a:gd name="T74" fmla="*/ 16 w 135"/>
                  <a:gd name="T75" fmla="*/ 80 h 86"/>
                  <a:gd name="T76" fmla="*/ 13 w 135"/>
                  <a:gd name="T77" fmla="*/ 82 h 86"/>
                  <a:gd name="T78" fmla="*/ 13 w 135"/>
                  <a:gd name="T79" fmla="*/ 82 h 86"/>
                  <a:gd name="T80" fmla="*/ 13 w 135"/>
                  <a:gd name="T81" fmla="*/ 82 h 86"/>
                  <a:gd name="T82" fmla="*/ 13 w 135"/>
                  <a:gd name="T83" fmla="*/ 82 h 86"/>
                  <a:gd name="T84" fmla="*/ 13 w 135"/>
                  <a:gd name="T85" fmla="*/ 83 h 86"/>
                  <a:gd name="T86" fmla="*/ 13 w 135"/>
                  <a:gd name="T87" fmla="*/ 83 h 86"/>
                  <a:gd name="T88" fmla="*/ 11 w 135"/>
                  <a:gd name="T89" fmla="*/ 80 h 86"/>
                  <a:gd name="T90" fmla="*/ 5 w 135"/>
                  <a:gd name="T91" fmla="*/ 82 h 8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29" name="Freeform 285"/>
              <p:cNvSpPr>
                <a:spLocks/>
              </p:cNvSpPr>
              <p:nvPr/>
            </p:nvSpPr>
            <p:spPr bwMode="auto">
              <a:xfrm>
                <a:off x="-1826367" y="3864971"/>
                <a:ext cx="148681" cy="223842"/>
              </a:xfrm>
              <a:custGeom>
                <a:avLst/>
                <a:gdLst>
                  <a:gd name="T0" fmla="*/ 4 w 40"/>
                  <a:gd name="T1" fmla="*/ 37 h 60"/>
                  <a:gd name="T2" fmla="*/ 6 w 40"/>
                  <a:gd name="T3" fmla="*/ 36 h 60"/>
                  <a:gd name="T4" fmla="*/ 4 w 40"/>
                  <a:gd name="T5" fmla="*/ 33 h 60"/>
                  <a:gd name="T6" fmla="*/ 5 w 40"/>
                  <a:gd name="T7" fmla="*/ 30 h 60"/>
                  <a:gd name="T8" fmla="*/ 25 w 40"/>
                  <a:gd name="T9" fmla="*/ 6 h 60"/>
                  <a:gd name="T10" fmla="*/ 28 w 40"/>
                  <a:gd name="T11" fmla="*/ 5 h 60"/>
                  <a:gd name="T12" fmla="*/ 30 w 40"/>
                  <a:gd name="T13" fmla="*/ 5 h 60"/>
                  <a:gd name="T14" fmla="*/ 33 w 40"/>
                  <a:gd name="T15" fmla="*/ 8 h 60"/>
                  <a:gd name="T16" fmla="*/ 35 w 40"/>
                  <a:gd name="T17" fmla="*/ 10 h 60"/>
                  <a:gd name="T18" fmla="*/ 35 w 40"/>
                  <a:gd name="T19" fmla="*/ 14 h 60"/>
                  <a:gd name="T20" fmla="*/ 35 w 40"/>
                  <a:gd name="T21" fmla="*/ 15 h 60"/>
                  <a:gd name="T22" fmla="*/ 26 w 40"/>
                  <a:gd name="T23" fmla="*/ 54 h 60"/>
                  <a:gd name="T24" fmla="*/ 26 w 40"/>
                  <a:gd name="T25" fmla="*/ 55 h 60"/>
                  <a:gd name="T26" fmla="*/ 25 w 40"/>
                  <a:gd name="T27" fmla="*/ 55 h 60"/>
                  <a:gd name="T28" fmla="*/ 24 w 40"/>
                  <a:gd name="T29" fmla="*/ 55 h 60"/>
                  <a:gd name="T30" fmla="*/ 6 w 40"/>
                  <a:gd name="T31" fmla="*/ 36 h 60"/>
                  <a:gd name="T32" fmla="*/ 4 w 40"/>
                  <a:gd name="T33" fmla="*/ 37 h 60"/>
                  <a:gd name="T34" fmla="*/ 2 w 40"/>
                  <a:gd name="T35" fmla="*/ 39 h 60"/>
                  <a:gd name="T36" fmla="*/ 21 w 40"/>
                  <a:gd name="T37" fmla="*/ 58 h 60"/>
                  <a:gd name="T38" fmla="*/ 25 w 40"/>
                  <a:gd name="T39" fmla="*/ 60 h 60"/>
                  <a:gd name="T40" fmla="*/ 29 w 40"/>
                  <a:gd name="T41" fmla="*/ 58 h 60"/>
                  <a:gd name="T42" fmla="*/ 31 w 40"/>
                  <a:gd name="T43" fmla="*/ 55 h 60"/>
                  <a:gd name="T44" fmla="*/ 39 w 40"/>
                  <a:gd name="T45" fmla="*/ 16 h 60"/>
                  <a:gd name="T46" fmla="*/ 40 w 40"/>
                  <a:gd name="T47" fmla="*/ 14 h 60"/>
                  <a:gd name="T48" fmla="*/ 39 w 40"/>
                  <a:gd name="T49" fmla="*/ 9 h 60"/>
                  <a:gd name="T50" fmla="*/ 36 w 40"/>
                  <a:gd name="T51" fmla="*/ 4 h 60"/>
                  <a:gd name="T52" fmla="*/ 33 w 40"/>
                  <a:gd name="T53" fmla="*/ 2 h 60"/>
                  <a:gd name="T54" fmla="*/ 28 w 40"/>
                  <a:gd name="T55" fmla="*/ 0 h 60"/>
                  <a:gd name="T56" fmla="*/ 22 w 40"/>
                  <a:gd name="T57" fmla="*/ 3 h 60"/>
                  <a:gd name="T58" fmla="*/ 2 w 40"/>
                  <a:gd name="T59" fmla="*/ 27 h 60"/>
                  <a:gd name="T60" fmla="*/ 0 w 40"/>
                  <a:gd name="T61" fmla="*/ 33 h 60"/>
                  <a:gd name="T62" fmla="*/ 2 w 40"/>
                  <a:gd name="T63" fmla="*/ 39 h 60"/>
                  <a:gd name="T64" fmla="*/ 4 w 40"/>
                  <a:gd name="T65" fmla="*/ 37 h 6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30" name="Freeform 286"/>
              <p:cNvSpPr>
                <a:spLocks/>
              </p:cNvSpPr>
              <p:nvPr/>
            </p:nvSpPr>
            <p:spPr bwMode="auto">
              <a:xfrm>
                <a:off x="-2037653" y="3899408"/>
                <a:ext cx="179984" cy="250899"/>
              </a:xfrm>
              <a:custGeom>
                <a:avLst/>
                <a:gdLst>
                  <a:gd name="T0" fmla="*/ 5 w 48"/>
                  <a:gd name="T1" fmla="*/ 4 h 67"/>
                  <a:gd name="T2" fmla="*/ 5 w 48"/>
                  <a:gd name="T3" fmla="*/ 3 h 67"/>
                  <a:gd name="T4" fmla="*/ 4 w 48"/>
                  <a:gd name="T5" fmla="*/ 3 h 67"/>
                  <a:gd name="T6" fmla="*/ 4 w 48"/>
                  <a:gd name="T7" fmla="*/ 3 h 67"/>
                  <a:gd name="T8" fmla="*/ 4 w 48"/>
                  <a:gd name="T9" fmla="*/ 3 h 67"/>
                  <a:gd name="T10" fmla="*/ 4 w 48"/>
                  <a:gd name="T11" fmla="*/ 4 h 67"/>
                  <a:gd name="T12" fmla="*/ 3 w 48"/>
                  <a:gd name="T13" fmla="*/ 3 h 67"/>
                  <a:gd name="T14" fmla="*/ 3 w 48"/>
                  <a:gd name="T15" fmla="*/ 3 h 67"/>
                  <a:gd name="T16" fmla="*/ 4 w 48"/>
                  <a:gd name="T17" fmla="*/ 4 h 67"/>
                  <a:gd name="T18" fmla="*/ 4 w 48"/>
                  <a:gd name="T19" fmla="*/ 4 h 67"/>
                  <a:gd name="T20" fmla="*/ 4 w 48"/>
                  <a:gd name="T21" fmla="*/ 4 h 67"/>
                  <a:gd name="T22" fmla="*/ 4 w 48"/>
                  <a:gd name="T23" fmla="*/ 3 h 67"/>
                  <a:gd name="T24" fmla="*/ 4 w 48"/>
                  <a:gd name="T25" fmla="*/ 4 h 67"/>
                  <a:gd name="T26" fmla="*/ 4 w 48"/>
                  <a:gd name="T27" fmla="*/ 4 h 67"/>
                  <a:gd name="T28" fmla="*/ 4 w 48"/>
                  <a:gd name="T29" fmla="*/ 4 h 67"/>
                  <a:gd name="T30" fmla="*/ 5 w 48"/>
                  <a:gd name="T31" fmla="*/ 5 h 67"/>
                  <a:gd name="T32" fmla="*/ 13 w 48"/>
                  <a:gd name="T33" fmla="*/ 10 h 67"/>
                  <a:gd name="T34" fmla="*/ 44 w 48"/>
                  <a:gd name="T35" fmla="*/ 61 h 67"/>
                  <a:gd name="T36" fmla="*/ 44 w 48"/>
                  <a:gd name="T37" fmla="*/ 63 h 67"/>
                  <a:gd name="T38" fmla="*/ 45 w 48"/>
                  <a:gd name="T39" fmla="*/ 64 h 67"/>
                  <a:gd name="T40" fmla="*/ 44 w 48"/>
                  <a:gd name="T41" fmla="*/ 63 h 67"/>
                  <a:gd name="T42" fmla="*/ 45 w 48"/>
                  <a:gd name="T43" fmla="*/ 63 h 67"/>
                  <a:gd name="T44" fmla="*/ 45 w 48"/>
                  <a:gd name="T45" fmla="*/ 63 h 67"/>
                  <a:gd name="T46" fmla="*/ 45 w 48"/>
                  <a:gd name="T47" fmla="*/ 64 h 67"/>
                  <a:gd name="T48" fmla="*/ 45 w 48"/>
                  <a:gd name="T49" fmla="*/ 63 h 67"/>
                  <a:gd name="T50" fmla="*/ 45 w 48"/>
                  <a:gd name="T51" fmla="*/ 63 h 67"/>
                  <a:gd name="T52" fmla="*/ 45 w 48"/>
                  <a:gd name="T53" fmla="*/ 63 h 67"/>
                  <a:gd name="T54" fmla="*/ 44 w 48"/>
                  <a:gd name="T55" fmla="*/ 62 h 67"/>
                  <a:gd name="T56" fmla="*/ 3 w 48"/>
                  <a:gd name="T57" fmla="*/ 6 h 67"/>
                  <a:gd name="T58" fmla="*/ 41 w 48"/>
                  <a:gd name="T59" fmla="*/ 64 h 67"/>
                  <a:gd name="T60" fmla="*/ 45 w 48"/>
                  <a:gd name="T61" fmla="*/ 67 h 67"/>
                  <a:gd name="T62" fmla="*/ 48 w 48"/>
                  <a:gd name="T63" fmla="*/ 64 h 67"/>
                  <a:gd name="T64" fmla="*/ 48 w 48"/>
                  <a:gd name="T65" fmla="*/ 61 h 67"/>
                  <a:gd name="T66" fmla="*/ 16 w 48"/>
                  <a:gd name="T67" fmla="*/ 8 h 67"/>
                  <a:gd name="T68" fmla="*/ 7 w 48"/>
                  <a:gd name="T69" fmla="*/ 0 h 67"/>
                  <a:gd name="T70" fmla="*/ 4 w 48"/>
                  <a:gd name="T71" fmla="*/ 0 h 67"/>
                  <a:gd name="T72" fmla="*/ 0 w 48"/>
                  <a:gd name="T73" fmla="*/ 3 h 67"/>
                  <a:gd name="T74" fmla="*/ 3 w 48"/>
                  <a:gd name="T75" fmla="*/ 6 h 6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31" name="Freeform 287"/>
              <p:cNvSpPr>
                <a:spLocks/>
              </p:cNvSpPr>
              <p:nvPr/>
            </p:nvSpPr>
            <p:spPr bwMode="auto">
              <a:xfrm>
                <a:off x="-1487268" y="4024859"/>
                <a:ext cx="305189" cy="201703"/>
              </a:xfrm>
              <a:custGeom>
                <a:avLst/>
                <a:gdLst>
                  <a:gd name="T0" fmla="*/ 4 w 81"/>
                  <a:gd name="T1" fmla="*/ 8 h 53"/>
                  <a:gd name="T2" fmla="*/ 5 w 81"/>
                  <a:gd name="T3" fmla="*/ 5 h 53"/>
                  <a:gd name="T4" fmla="*/ 9 w 81"/>
                  <a:gd name="T5" fmla="*/ 4 h 53"/>
                  <a:gd name="T6" fmla="*/ 16 w 81"/>
                  <a:gd name="T7" fmla="*/ 8 h 53"/>
                  <a:gd name="T8" fmla="*/ 27 w 81"/>
                  <a:gd name="T9" fmla="*/ 9 h 53"/>
                  <a:gd name="T10" fmla="*/ 32 w 81"/>
                  <a:gd name="T11" fmla="*/ 7 h 53"/>
                  <a:gd name="T12" fmla="*/ 66 w 81"/>
                  <a:gd name="T13" fmla="*/ 27 h 53"/>
                  <a:gd name="T14" fmla="*/ 69 w 81"/>
                  <a:gd name="T15" fmla="*/ 33 h 53"/>
                  <a:gd name="T16" fmla="*/ 69 w 81"/>
                  <a:gd name="T17" fmla="*/ 33 h 53"/>
                  <a:gd name="T18" fmla="*/ 69 w 81"/>
                  <a:gd name="T19" fmla="*/ 34 h 53"/>
                  <a:gd name="T20" fmla="*/ 76 w 81"/>
                  <a:gd name="T21" fmla="*/ 50 h 53"/>
                  <a:gd name="T22" fmla="*/ 77 w 81"/>
                  <a:gd name="T23" fmla="*/ 51 h 53"/>
                  <a:gd name="T24" fmla="*/ 77 w 81"/>
                  <a:gd name="T25" fmla="*/ 51 h 53"/>
                  <a:gd name="T26" fmla="*/ 78 w 81"/>
                  <a:gd name="T27" fmla="*/ 51 h 53"/>
                  <a:gd name="T28" fmla="*/ 79 w 81"/>
                  <a:gd name="T29" fmla="*/ 51 h 53"/>
                  <a:gd name="T30" fmla="*/ 77 w 81"/>
                  <a:gd name="T31" fmla="*/ 51 h 53"/>
                  <a:gd name="T32" fmla="*/ 77 w 81"/>
                  <a:gd name="T33" fmla="*/ 49 h 53"/>
                  <a:gd name="T34" fmla="*/ 78 w 81"/>
                  <a:gd name="T35" fmla="*/ 49 h 53"/>
                  <a:gd name="T36" fmla="*/ 78 w 81"/>
                  <a:gd name="T37" fmla="*/ 51 h 53"/>
                  <a:gd name="T38" fmla="*/ 78 w 81"/>
                  <a:gd name="T39" fmla="*/ 49 h 53"/>
                  <a:gd name="T40" fmla="*/ 78 w 81"/>
                  <a:gd name="T41" fmla="*/ 49 h 53"/>
                  <a:gd name="T42" fmla="*/ 79 w 81"/>
                  <a:gd name="T43" fmla="*/ 49 h 53"/>
                  <a:gd name="T44" fmla="*/ 61 w 81"/>
                  <a:gd name="T45" fmla="*/ 39 h 53"/>
                  <a:gd name="T46" fmla="*/ 49 w 81"/>
                  <a:gd name="T47" fmla="*/ 39 h 53"/>
                  <a:gd name="T48" fmla="*/ 42 w 81"/>
                  <a:gd name="T49" fmla="*/ 43 h 53"/>
                  <a:gd name="T50" fmla="*/ 26 w 81"/>
                  <a:gd name="T51" fmla="*/ 23 h 53"/>
                  <a:gd name="T52" fmla="*/ 16 w 81"/>
                  <a:gd name="T53" fmla="*/ 16 h 53"/>
                  <a:gd name="T54" fmla="*/ 6 w 81"/>
                  <a:gd name="T55" fmla="*/ 15 h 53"/>
                  <a:gd name="T56" fmla="*/ 4 w 81"/>
                  <a:gd name="T57" fmla="*/ 8 h 53"/>
                  <a:gd name="T58" fmla="*/ 0 w 81"/>
                  <a:gd name="T59" fmla="*/ 9 h 53"/>
                  <a:gd name="T60" fmla="*/ 3 w 81"/>
                  <a:gd name="T61" fmla="*/ 18 h 53"/>
                  <a:gd name="T62" fmla="*/ 16 w 81"/>
                  <a:gd name="T63" fmla="*/ 21 h 53"/>
                  <a:gd name="T64" fmla="*/ 22 w 81"/>
                  <a:gd name="T65" fmla="*/ 25 h 53"/>
                  <a:gd name="T66" fmla="*/ 42 w 81"/>
                  <a:gd name="T67" fmla="*/ 47 h 53"/>
                  <a:gd name="T68" fmla="*/ 51 w 81"/>
                  <a:gd name="T69" fmla="*/ 43 h 53"/>
                  <a:gd name="T70" fmla="*/ 59 w 81"/>
                  <a:gd name="T71" fmla="*/ 43 h 53"/>
                  <a:gd name="T72" fmla="*/ 78 w 81"/>
                  <a:gd name="T73" fmla="*/ 53 h 53"/>
                  <a:gd name="T74" fmla="*/ 81 w 81"/>
                  <a:gd name="T75" fmla="*/ 51 h 53"/>
                  <a:gd name="T76" fmla="*/ 79 w 81"/>
                  <a:gd name="T77" fmla="*/ 47 h 53"/>
                  <a:gd name="T78" fmla="*/ 73 w 81"/>
                  <a:gd name="T79" fmla="*/ 34 h 53"/>
                  <a:gd name="T80" fmla="*/ 73 w 81"/>
                  <a:gd name="T81" fmla="*/ 34 h 53"/>
                  <a:gd name="T82" fmla="*/ 73 w 81"/>
                  <a:gd name="T83" fmla="*/ 33 h 53"/>
                  <a:gd name="T84" fmla="*/ 68 w 81"/>
                  <a:gd name="T85" fmla="*/ 23 h 53"/>
                  <a:gd name="T86" fmla="*/ 32 w 81"/>
                  <a:gd name="T87" fmla="*/ 3 h 53"/>
                  <a:gd name="T88" fmla="*/ 24 w 81"/>
                  <a:gd name="T89" fmla="*/ 6 h 53"/>
                  <a:gd name="T90" fmla="*/ 19 w 81"/>
                  <a:gd name="T91" fmla="*/ 5 h 53"/>
                  <a:gd name="T92" fmla="*/ 9 w 81"/>
                  <a:gd name="T93" fmla="*/ 0 h 53"/>
                  <a:gd name="T94" fmla="*/ 1 w 81"/>
                  <a:gd name="T95" fmla="*/ 2 h 53"/>
                  <a:gd name="T96" fmla="*/ 0 w 81"/>
                  <a:gd name="T97" fmla="*/ 9 h 5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32" name="Freeform 288"/>
              <p:cNvSpPr>
                <a:spLocks/>
              </p:cNvSpPr>
              <p:nvPr/>
            </p:nvSpPr>
            <p:spPr bwMode="auto">
              <a:xfrm>
                <a:off x="-1711595" y="4251159"/>
                <a:ext cx="573860" cy="568211"/>
              </a:xfrm>
              <a:custGeom>
                <a:avLst/>
                <a:gdLst>
                  <a:gd name="T0" fmla="*/ 5 w 153"/>
                  <a:gd name="T1" fmla="*/ 60 h 151"/>
                  <a:gd name="T2" fmla="*/ 6 w 153"/>
                  <a:gd name="T3" fmla="*/ 53 h 151"/>
                  <a:gd name="T4" fmla="*/ 45 w 153"/>
                  <a:gd name="T5" fmla="*/ 21 h 151"/>
                  <a:gd name="T6" fmla="*/ 50 w 153"/>
                  <a:gd name="T7" fmla="*/ 20 h 151"/>
                  <a:gd name="T8" fmla="*/ 59 w 153"/>
                  <a:gd name="T9" fmla="*/ 12 h 151"/>
                  <a:gd name="T10" fmla="*/ 62 w 153"/>
                  <a:gd name="T11" fmla="*/ 5 h 151"/>
                  <a:gd name="T12" fmla="*/ 65 w 153"/>
                  <a:gd name="T13" fmla="*/ 4 h 151"/>
                  <a:gd name="T14" fmla="*/ 82 w 153"/>
                  <a:gd name="T15" fmla="*/ 8 h 151"/>
                  <a:gd name="T16" fmla="*/ 83 w 153"/>
                  <a:gd name="T17" fmla="*/ 14 h 151"/>
                  <a:gd name="T18" fmla="*/ 89 w 153"/>
                  <a:gd name="T19" fmla="*/ 25 h 151"/>
                  <a:gd name="T20" fmla="*/ 99 w 153"/>
                  <a:gd name="T21" fmla="*/ 32 h 151"/>
                  <a:gd name="T22" fmla="*/ 104 w 153"/>
                  <a:gd name="T23" fmla="*/ 25 h 151"/>
                  <a:gd name="T24" fmla="*/ 104 w 153"/>
                  <a:gd name="T25" fmla="*/ 4 h 151"/>
                  <a:gd name="T26" fmla="*/ 104 w 153"/>
                  <a:gd name="T27" fmla="*/ 4 h 151"/>
                  <a:gd name="T28" fmla="*/ 104 w 153"/>
                  <a:gd name="T29" fmla="*/ 4 h 151"/>
                  <a:gd name="T30" fmla="*/ 104 w 153"/>
                  <a:gd name="T31" fmla="*/ 4 h 151"/>
                  <a:gd name="T32" fmla="*/ 103 w 153"/>
                  <a:gd name="T33" fmla="*/ 4 h 151"/>
                  <a:gd name="T34" fmla="*/ 103 w 153"/>
                  <a:gd name="T35" fmla="*/ 3 h 151"/>
                  <a:gd name="T36" fmla="*/ 103 w 153"/>
                  <a:gd name="T37" fmla="*/ 3 h 151"/>
                  <a:gd name="T38" fmla="*/ 103 w 153"/>
                  <a:gd name="T39" fmla="*/ 4 h 151"/>
                  <a:gd name="T40" fmla="*/ 103 w 153"/>
                  <a:gd name="T41" fmla="*/ 4 h 151"/>
                  <a:gd name="T42" fmla="*/ 104 w 153"/>
                  <a:gd name="T43" fmla="*/ 5 h 151"/>
                  <a:gd name="T44" fmla="*/ 119 w 153"/>
                  <a:gd name="T45" fmla="*/ 26 h 151"/>
                  <a:gd name="T46" fmla="*/ 120 w 153"/>
                  <a:gd name="T47" fmla="*/ 37 h 151"/>
                  <a:gd name="T48" fmla="*/ 124 w 153"/>
                  <a:gd name="T49" fmla="*/ 50 h 151"/>
                  <a:gd name="T50" fmla="*/ 147 w 153"/>
                  <a:gd name="T51" fmla="*/ 83 h 151"/>
                  <a:gd name="T52" fmla="*/ 148 w 153"/>
                  <a:gd name="T53" fmla="*/ 108 h 151"/>
                  <a:gd name="T54" fmla="*/ 127 w 153"/>
                  <a:gd name="T55" fmla="*/ 145 h 151"/>
                  <a:gd name="T56" fmla="*/ 122 w 153"/>
                  <a:gd name="T57" fmla="*/ 147 h 151"/>
                  <a:gd name="T58" fmla="*/ 72 w 153"/>
                  <a:gd name="T59" fmla="*/ 111 h 151"/>
                  <a:gd name="T60" fmla="*/ 31 w 153"/>
                  <a:gd name="T61" fmla="*/ 125 h 151"/>
                  <a:gd name="T62" fmla="*/ 27 w 153"/>
                  <a:gd name="T63" fmla="*/ 122 h 151"/>
                  <a:gd name="T64" fmla="*/ 3 w 153"/>
                  <a:gd name="T65" fmla="*/ 61 h 151"/>
                  <a:gd name="T66" fmla="*/ 23 w 153"/>
                  <a:gd name="T67" fmla="*/ 124 h 151"/>
                  <a:gd name="T68" fmla="*/ 32 w 153"/>
                  <a:gd name="T69" fmla="*/ 129 h 151"/>
                  <a:gd name="T70" fmla="*/ 72 w 153"/>
                  <a:gd name="T71" fmla="*/ 115 h 151"/>
                  <a:gd name="T72" fmla="*/ 119 w 153"/>
                  <a:gd name="T73" fmla="*/ 150 h 151"/>
                  <a:gd name="T74" fmla="*/ 130 w 153"/>
                  <a:gd name="T75" fmla="*/ 148 h 151"/>
                  <a:gd name="T76" fmla="*/ 153 w 153"/>
                  <a:gd name="T77" fmla="*/ 108 h 151"/>
                  <a:gd name="T78" fmla="*/ 151 w 153"/>
                  <a:gd name="T79" fmla="*/ 82 h 151"/>
                  <a:gd name="T80" fmla="*/ 128 w 153"/>
                  <a:gd name="T81" fmla="*/ 47 h 151"/>
                  <a:gd name="T82" fmla="*/ 125 w 153"/>
                  <a:gd name="T83" fmla="*/ 37 h 151"/>
                  <a:gd name="T84" fmla="*/ 123 w 153"/>
                  <a:gd name="T85" fmla="*/ 25 h 151"/>
                  <a:gd name="T86" fmla="*/ 107 w 153"/>
                  <a:gd name="T87" fmla="*/ 2 h 151"/>
                  <a:gd name="T88" fmla="*/ 103 w 153"/>
                  <a:gd name="T89" fmla="*/ 0 h 151"/>
                  <a:gd name="T90" fmla="*/ 100 w 153"/>
                  <a:gd name="T91" fmla="*/ 3 h 151"/>
                  <a:gd name="T92" fmla="*/ 100 w 153"/>
                  <a:gd name="T93" fmla="*/ 25 h 151"/>
                  <a:gd name="T94" fmla="*/ 99 w 153"/>
                  <a:gd name="T95" fmla="*/ 27 h 151"/>
                  <a:gd name="T96" fmla="*/ 99 w 153"/>
                  <a:gd name="T97" fmla="*/ 28 h 151"/>
                  <a:gd name="T98" fmla="*/ 99 w 153"/>
                  <a:gd name="T99" fmla="*/ 27 h 151"/>
                  <a:gd name="T100" fmla="*/ 99 w 153"/>
                  <a:gd name="T101" fmla="*/ 27 h 151"/>
                  <a:gd name="T102" fmla="*/ 91 w 153"/>
                  <a:gd name="T103" fmla="*/ 22 h 151"/>
                  <a:gd name="T104" fmla="*/ 88 w 153"/>
                  <a:gd name="T105" fmla="*/ 14 h 151"/>
                  <a:gd name="T106" fmla="*/ 86 w 153"/>
                  <a:gd name="T107" fmla="*/ 5 h 151"/>
                  <a:gd name="T108" fmla="*/ 66 w 153"/>
                  <a:gd name="T109" fmla="*/ 0 h 151"/>
                  <a:gd name="T110" fmla="*/ 59 w 153"/>
                  <a:gd name="T111" fmla="*/ 2 h 151"/>
                  <a:gd name="T112" fmla="*/ 55 w 153"/>
                  <a:gd name="T113" fmla="*/ 11 h 151"/>
                  <a:gd name="T114" fmla="*/ 50 w 153"/>
                  <a:gd name="T115" fmla="*/ 16 h 151"/>
                  <a:gd name="T116" fmla="*/ 43 w 153"/>
                  <a:gd name="T117" fmla="*/ 17 h 151"/>
                  <a:gd name="T118" fmla="*/ 3 w 153"/>
                  <a:gd name="T119" fmla="*/ 49 h 151"/>
                  <a:gd name="T120" fmla="*/ 1 w 153"/>
                  <a:gd name="T121" fmla="*/ 61 h 15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33" name="Freeform 289"/>
              <p:cNvSpPr>
                <a:spLocks/>
              </p:cNvSpPr>
              <p:nvPr/>
            </p:nvSpPr>
            <p:spPr bwMode="auto">
              <a:xfrm>
                <a:off x="-5230403" y="2526846"/>
                <a:ext cx="52169" cy="46737"/>
              </a:xfrm>
              <a:custGeom>
                <a:avLst/>
                <a:gdLst>
                  <a:gd name="T0" fmla="*/ 4 w 14"/>
                  <a:gd name="T1" fmla="*/ 11 h 13"/>
                  <a:gd name="T2" fmla="*/ 5 w 14"/>
                  <a:gd name="T3" fmla="*/ 9 h 13"/>
                  <a:gd name="T4" fmla="*/ 4 w 14"/>
                  <a:gd name="T5" fmla="*/ 9 h 13"/>
                  <a:gd name="T6" fmla="*/ 4 w 14"/>
                  <a:gd name="T7" fmla="*/ 8 h 13"/>
                  <a:gd name="T8" fmla="*/ 5 w 14"/>
                  <a:gd name="T9" fmla="*/ 6 h 13"/>
                  <a:gd name="T10" fmla="*/ 8 w 14"/>
                  <a:gd name="T11" fmla="*/ 4 h 13"/>
                  <a:gd name="T12" fmla="*/ 9 w 14"/>
                  <a:gd name="T13" fmla="*/ 4 h 13"/>
                  <a:gd name="T14" fmla="*/ 10 w 14"/>
                  <a:gd name="T15" fmla="*/ 6 h 13"/>
                  <a:gd name="T16" fmla="*/ 9 w 14"/>
                  <a:gd name="T17" fmla="*/ 8 h 13"/>
                  <a:gd name="T18" fmla="*/ 6 w 14"/>
                  <a:gd name="T19" fmla="*/ 9 h 13"/>
                  <a:gd name="T20" fmla="*/ 5 w 14"/>
                  <a:gd name="T21" fmla="*/ 9 h 13"/>
                  <a:gd name="T22" fmla="*/ 4 w 14"/>
                  <a:gd name="T23" fmla="*/ 11 h 13"/>
                  <a:gd name="T24" fmla="*/ 3 w 14"/>
                  <a:gd name="T25" fmla="*/ 13 h 13"/>
                  <a:gd name="T26" fmla="*/ 6 w 14"/>
                  <a:gd name="T27" fmla="*/ 13 h 13"/>
                  <a:gd name="T28" fmla="*/ 13 w 14"/>
                  <a:gd name="T29" fmla="*/ 11 h 13"/>
                  <a:gd name="T30" fmla="*/ 14 w 14"/>
                  <a:gd name="T31" fmla="*/ 6 h 13"/>
                  <a:gd name="T32" fmla="*/ 12 w 14"/>
                  <a:gd name="T33" fmla="*/ 1 h 13"/>
                  <a:gd name="T34" fmla="*/ 8 w 14"/>
                  <a:gd name="T35" fmla="*/ 0 h 13"/>
                  <a:gd name="T36" fmla="*/ 2 w 14"/>
                  <a:gd name="T37" fmla="*/ 3 h 13"/>
                  <a:gd name="T38" fmla="*/ 0 w 14"/>
                  <a:gd name="T39" fmla="*/ 8 h 13"/>
                  <a:gd name="T40" fmla="*/ 1 w 14"/>
                  <a:gd name="T41" fmla="*/ 11 h 13"/>
                  <a:gd name="T42" fmla="*/ 3 w 14"/>
                  <a:gd name="T43" fmla="*/ 13 h 13"/>
                  <a:gd name="T44" fmla="*/ 4 w 14"/>
                  <a:gd name="T45" fmla="*/ 11 h 1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34" name="Freeform 290"/>
              <p:cNvSpPr>
                <a:spLocks/>
              </p:cNvSpPr>
              <p:nvPr/>
            </p:nvSpPr>
            <p:spPr bwMode="auto">
              <a:xfrm>
                <a:off x="-5173017" y="2558824"/>
                <a:ext cx="88687" cy="56574"/>
              </a:xfrm>
              <a:custGeom>
                <a:avLst/>
                <a:gdLst>
                  <a:gd name="T0" fmla="*/ 3 w 23"/>
                  <a:gd name="T1" fmla="*/ 6 h 15"/>
                  <a:gd name="T2" fmla="*/ 5 w 23"/>
                  <a:gd name="T3" fmla="*/ 6 h 15"/>
                  <a:gd name="T4" fmla="*/ 5 w 23"/>
                  <a:gd name="T5" fmla="*/ 5 h 15"/>
                  <a:gd name="T6" fmla="*/ 7 w 23"/>
                  <a:gd name="T7" fmla="*/ 4 h 15"/>
                  <a:gd name="T8" fmla="*/ 7 w 23"/>
                  <a:gd name="T9" fmla="*/ 4 h 15"/>
                  <a:gd name="T10" fmla="*/ 8 w 23"/>
                  <a:gd name="T11" fmla="*/ 5 h 15"/>
                  <a:gd name="T12" fmla="*/ 17 w 23"/>
                  <a:gd name="T13" fmla="*/ 8 h 15"/>
                  <a:gd name="T14" fmla="*/ 19 w 23"/>
                  <a:gd name="T15" fmla="*/ 10 h 15"/>
                  <a:gd name="T16" fmla="*/ 19 w 23"/>
                  <a:gd name="T17" fmla="*/ 10 h 15"/>
                  <a:gd name="T18" fmla="*/ 17 w 23"/>
                  <a:gd name="T19" fmla="*/ 11 h 15"/>
                  <a:gd name="T20" fmla="*/ 15 w 23"/>
                  <a:gd name="T21" fmla="*/ 11 h 15"/>
                  <a:gd name="T22" fmla="*/ 13 w 23"/>
                  <a:gd name="T23" fmla="*/ 11 h 15"/>
                  <a:gd name="T24" fmla="*/ 8 w 23"/>
                  <a:gd name="T25" fmla="*/ 10 h 15"/>
                  <a:gd name="T26" fmla="*/ 6 w 23"/>
                  <a:gd name="T27" fmla="*/ 8 h 15"/>
                  <a:gd name="T28" fmla="*/ 5 w 23"/>
                  <a:gd name="T29" fmla="*/ 6 h 15"/>
                  <a:gd name="T30" fmla="*/ 3 w 23"/>
                  <a:gd name="T31" fmla="*/ 6 h 15"/>
                  <a:gd name="T32" fmla="*/ 0 w 23"/>
                  <a:gd name="T33" fmla="*/ 6 h 15"/>
                  <a:gd name="T34" fmla="*/ 2 w 23"/>
                  <a:gd name="T35" fmla="*/ 11 h 15"/>
                  <a:gd name="T36" fmla="*/ 7 w 23"/>
                  <a:gd name="T37" fmla="*/ 14 h 15"/>
                  <a:gd name="T38" fmla="*/ 12 w 23"/>
                  <a:gd name="T39" fmla="*/ 15 h 15"/>
                  <a:gd name="T40" fmla="*/ 15 w 23"/>
                  <a:gd name="T41" fmla="*/ 15 h 15"/>
                  <a:gd name="T42" fmla="*/ 19 w 23"/>
                  <a:gd name="T43" fmla="*/ 15 h 15"/>
                  <a:gd name="T44" fmla="*/ 22 w 23"/>
                  <a:gd name="T45" fmla="*/ 13 h 15"/>
                  <a:gd name="T46" fmla="*/ 23 w 23"/>
                  <a:gd name="T47" fmla="*/ 10 h 15"/>
                  <a:gd name="T48" fmla="*/ 19 w 23"/>
                  <a:gd name="T49" fmla="*/ 4 h 15"/>
                  <a:gd name="T50" fmla="*/ 9 w 23"/>
                  <a:gd name="T51" fmla="*/ 0 h 15"/>
                  <a:gd name="T52" fmla="*/ 8 w 23"/>
                  <a:gd name="T53" fmla="*/ 0 h 15"/>
                  <a:gd name="T54" fmla="*/ 7 w 23"/>
                  <a:gd name="T55" fmla="*/ 0 h 15"/>
                  <a:gd name="T56" fmla="*/ 2 w 23"/>
                  <a:gd name="T57" fmla="*/ 2 h 15"/>
                  <a:gd name="T58" fmla="*/ 0 w 23"/>
                  <a:gd name="T59" fmla="*/ 6 h 15"/>
                  <a:gd name="T60" fmla="*/ 3 w 23"/>
                  <a:gd name="T61" fmla="*/ 6 h 1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35" name="Freeform 291"/>
              <p:cNvSpPr>
                <a:spLocks/>
              </p:cNvSpPr>
              <p:nvPr/>
            </p:nvSpPr>
            <p:spPr bwMode="auto">
              <a:xfrm>
                <a:off x="-5029551" y="2418615"/>
                <a:ext cx="78254" cy="91013"/>
              </a:xfrm>
              <a:custGeom>
                <a:avLst/>
                <a:gdLst>
                  <a:gd name="T0" fmla="*/ 4 w 21"/>
                  <a:gd name="T1" fmla="*/ 13 h 24"/>
                  <a:gd name="T2" fmla="*/ 5 w 21"/>
                  <a:gd name="T3" fmla="*/ 12 h 24"/>
                  <a:gd name="T4" fmla="*/ 5 w 21"/>
                  <a:gd name="T5" fmla="*/ 10 h 24"/>
                  <a:gd name="T6" fmla="*/ 6 w 21"/>
                  <a:gd name="T7" fmla="*/ 9 h 24"/>
                  <a:gd name="T8" fmla="*/ 16 w 21"/>
                  <a:gd name="T9" fmla="*/ 4 h 24"/>
                  <a:gd name="T10" fmla="*/ 16 w 21"/>
                  <a:gd name="T11" fmla="*/ 4 h 24"/>
                  <a:gd name="T12" fmla="*/ 16 w 21"/>
                  <a:gd name="T13" fmla="*/ 4 h 24"/>
                  <a:gd name="T14" fmla="*/ 16 w 21"/>
                  <a:gd name="T15" fmla="*/ 4 h 24"/>
                  <a:gd name="T16" fmla="*/ 16 w 21"/>
                  <a:gd name="T17" fmla="*/ 4 h 24"/>
                  <a:gd name="T18" fmla="*/ 16 w 21"/>
                  <a:gd name="T19" fmla="*/ 4 h 24"/>
                  <a:gd name="T20" fmla="*/ 16 w 21"/>
                  <a:gd name="T21" fmla="*/ 4 h 24"/>
                  <a:gd name="T22" fmla="*/ 16 w 21"/>
                  <a:gd name="T23" fmla="*/ 4 h 24"/>
                  <a:gd name="T24" fmla="*/ 16 w 21"/>
                  <a:gd name="T25" fmla="*/ 4 h 24"/>
                  <a:gd name="T26" fmla="*/ 16 w 21"/>
                  <a:gd name="T27" fmla="*/ 4 h 24"/>
                  <a:gd name="T28" fmla="*/ 16 w 21"/>
                  <a:gd name="T29" fmla="*/ 4 h 24"/>
                  <a:gd name="T30" fmla="*/ 16 w 21"/>
                  <a:gd name="T31" fmla="*/ 4 h 24"/>
                  <a:gd name="T32" fmla="*/ 16 w 21"/>
                  <a:gd name="T33" fmla="*/ 4 h 24"/>
                  <a:gd name="T34" fmla="*/ 16 w 21"/>
                  <a:gd name="T35" fmla="*/ 5 h 24"/>
                  <a:gd name="T36" fmla="*/ 16 w 21"/>
                  <a:gd name="T37" fmla="*/ 6 h 24"/>
                  <a:gd name="T38" fmla="*/ 14 w 21"/>
                  <a:gd name="T39" fmla="*/ 18 h 24"/>
                  <a:gd name="T40" fmla="*/ 13 w 21"/>
                  <a:gd name="T41" fmla="*/ 20 h 24"/>
                  <a:gd name="T42" fmla="*/ 13 w 21"/>
                  <a:gd name="T43" fmla="*/ 20 h 24"/>
                  <a:gd name="T44" fmla="*/ 13 w 21"/>
                  <a:gd name="T45" fmla="*/ 20 h 24"/>
                  <a:gd name="T46" fmla="*/ 13 w 21"/>
                  <a:gd name="T47" fmla="*/ 20 h 24"/>
                  <a:gd name="T48" fmla="*/ 13 w 21"/>
                  <a:gd name="T49" fmla="*/ 20 h 24"/>
                  <a:gd name="T50" fmla="*/ 13 w 21"/>
                  <a:gd name="T51" fmla="*/ 20 h 24"/>
                  <a:gd name="T52" fmla="*/ 13 w 21"/>
                  <a:gd name="T53" fmla="*/ 20 h 24"/>
                  <a:gd name="T54" fmla="*/ 13 w 21"/>
                  <a:gd name="T55" fmla="*/ 20 h 24"/>
                  <a:gd name="T56" fmla="*/ 12 w 21"/>
                  <a:gd name="T57" fmla="*/ 19 h 24"/>
                  <a:gd name="T58" fmla="*/ 5 w 21"/>
                  <a:gd name="T59" fmla="*/ 12 h 24"/>
                  <a:gd name="T60" fmla="*/ 4 w 21"/>
                  <a:gd name="T61" fmla="*/ 13 h 24"/>
                  <a:gd name="T62" fmla="*/ 2 w 21"/>
                  <a:gd name="T63" fmla="*/ 14 h 24"/>
                  <a:gd name="T64" fmla="*/ 9 w 21"/>
                  <a:gd name="T65" fmla="*/ 22 h 24"/>
                  <a:gd name="T66" fmla="*/ 13 w 21"/>
                  <a:gd name="T67" fmla="*/ 24 h 24"/>
                  <a:gd name="T68" fmla="*/ 16 w 21"/>
                  <a:gd name="T69" fmla="*/ 23 h 24"/>
                  <a:gd name="T70" fmla="*/ 18 w 21"/>
                  <a:gd name="T71" fmla="*/ 19 h 24"/>
                  <a:gd name="T72" fmla="*/ 20 w 21"/>
                  <a:gd name="T73" fmla="*/ 7 h 24"/>
                  <a:gd name="T74" fmla="*/ 21 w 21"/>
                  <a:gd name="T75" fmla="*/ 5 h 24"/>
                  <a:gd name="T76" fmla="*/ 20 w 21"/>
                  <a:gd name="T77" fmla="*/ 2 h 24"/>
                  <a:gd name="T78" fmla="*/ 16 w 21"/>
                  <a:gd name="T79" fmla="*/ 0 h 24"/>
                  <a:gd name="T80" fmla="*/ 14 w 21"/>
                  <a:gd name="T81" fmla="*/ 0 h 24"/>
                  <a:gd name="T82" fmla="*/ 4 w 21"/>
                  <a:gd name="T83" fmla="*/ 5 h 24"/>
                  <a:gd name="T84" fmla="*/ 0 w 21"/>
                  <a:gd name="T85" fmla="*/ 10 h 24"/>
                  <a:gd name="T86" fmla="*/ 2 w 21"/>
                  <a:gd name="T87" fmla="*/ 14 h 24"/>
                  <a:gd name="T88" fmla="*/ 4 w 21"/>
                  <a:gd name="T89" fmla="*/ 13 h 2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36" name="Freeform 292"/>
              <p:cNvSpPr>
                <a:spLocks/>
              </p:cNvSpPr>
              <p:nvPr/>
            </p:nvSpPr>
            <p:spPr bwMode="auto">
              <a:xfrm>
                <a:off x="-5053028" y="2553904"/>
                <a:ext cx="112164" cy="127909"/>
              </a:xfrm>
              <a:custGeom>
                <a:avLst/>
                <a:gdLst>
                  <a:gd name="T0" fmla="*/ 7 w 30"/>
                  <a:gd name="T1" fmla="*/ 6 h 34"/>
                  <a:gd name="T2" fmla="*/ 7 w 30"/>
                  <a:gd name="T3" fmla="*/ 4 h 34"/>
                  <a:gd name="T4" fmla="*/ 7 w 30"/>
                  <a:gd name="T5" fmla="*/ 4 h 34"/>
                  <a:gd name="T6" fmla="*/ 6 w 30"/>
                  <a:gd name="T7" fmla="*/ 3 h 34"/>
                  <a:gd name="T8" fmla="*/ 6 w 30"/>
                  <a:gd name="T9" fmla="*/ 3 h 34"/>
                  <a:gd name="T10" fmla="*/ 7 w 30"/>
                  <a:gd name="T11" fmla="*/ 4 h 34"/>
                  <a:gd name="T12" fmla="*/ 6 w 30"/>
                  <a:gd name="T13" fmla="*/ 5 h 34"/>
                  <a:gd name="T14" fmla="*/ 5 w 30"/>
                  <a:gd name="T15" fmla="*/ 4 h 34"/>
                  <a:gd name="T16" fmla="*/ 6 w 30"/>
                  <a:gd name="T17" fmla="*/ 3 h 34"/>
                  <a:gd name="T18" fmla="*/ 6 w 30"/>
                  <a:gd name="T19" fmla="*/ 3 h 34"/>
                  <a:gd name="T20" fmla="*/ 5 w 30"/>
                  <a:gd name="T21" fmla="*/ 4 h 34"/>
                  <a:gd name="T22" fmla="*/ 4 w 30"/>
                  <a:gd name="T23" fmla="*/ 4 h 34"/>
                  <a:gd name="T24" fmla="*/ 4 w 30"/>
                  <a:gd name="T25" fmla="*/ 4 h 34"/>
                  <a:gd name="T26" fmla="*/ 4 w 30"/>
                  <a:gd name="T27" fmla="*/ 4 h 34"/>
                  <a:gd name="T28" fmla="*/ 5 w 30"/>
                  <a:gd name="T29" fmla="*/ 6 h 34"/>
                  <a:gd name="T30" fmla="*/ 7 w 30"/>
                  <a:gd name="T31" fmla="*/ 14 h 34"/>
                  <a:gd name="T32" fmla="*/ 15 w 30"/>
                  <a:gd name="T33" fmla="*/ 21 h 34"/>
                  <a:gd name="T34" fmla="*/ 23 w 30"/>
                  <a:gd name="T35" fmla="*/ 24 h 34"/>
                  <a:gd name="T36" fmla="*/ 24 w 30"/>
                  <a:gd name="T37" fmla="*/ 24 h 34"/>
                  <a:gd name="T38" fmla="*/ 24 w 30"/>
                  <a:gd name="T39" fmla="*/ 24 h 34"/>
                  <a:gd name="T40" fmla="*/ 24 w 30"/>
                  <a:gd name="T41" fmla="*/ 24 h 34"/>
                  <a:gd name="T42" fmla="*/ 24 w 30"/>
                  <a:gd name="T43" fmla="*/ 24 h 34"/>
                  <a:gd name="T44" fmla="*/ 24 w 30"/>
                  <a:gd name="T45" fmla="*/ 24 h 34"/>
                  <a:gd name="T46" fmla="*/ 24 w 30"/>
                  <a:gd name="T47" fmla="*/ 24 h 34"/>
                  <a:gd name="T48" fmla="*/ 25 w 30"/>
                  <a:gd name="T49" fmla="*/ 27 h 34"/>
                  <a:gd name="T50" fmla="*/ 25 w 30"/>
                  <a:gd name="T51" fmla="*/ 29 h 34"/>
                  <a:gd name="T52" fmla="*/ 19 w 30"/>
                  <a:gd name="T53" fmla="*/ 29 h 34"/>
                  <a:gd name="T54" fmla="*/ 7 w 30"/>
                  <a:gd name="T55" fmla="*/ 22 h 34"/>
                  <a:gd name="T56" fmla="*/ 5 w 30"/>
                  <a:gd name="T57" fmla="*/ 17 h 34"/>
                  <a:gd name="T58" fmla="*/ 7 w 30"/>
                  <a:gd name="T59" fmla="*/ 6 h 34"/>
                  <a:gd name="T60" fmla="*/ 3 w 30"/>
                  <a:gd name="T61" fmla="*/ 5 h 34"/>
                  <a:gd name="T62" fmla="*/ 0 w 30"/>
                  <a:gd name="T63" fmla="*/ 17 h 34"/>
                  <a:gd name="T64" fmla="*/ 5 w 30"/>
                  <a:gd name="T65" fmla="*/ 26 h 34"/>
                  <a:gd name="T66" fmla="*/ 18 w 30"/>
                  <a:gd name="T67" fmla="*/ 33 h 34"/>
                  <a:gd name="T68" fmla="*/ 28 w 30"/>
                  <a:gd name="T69" fmla="*/ 32 h 34"/>
                  <a:gd name="T70" fmla="*/ 30 w 30"/>
                  <a:gd name="T71" fmla="*/ 26 h 34"/>
                  <a:gd name="T72" fmla="*/ 24 w 30"/>
                  <a:gd name="T73" fmla="*/ 20 h 34"/>
                  <a:gd name="T74" fmla="*/ 23 w 30"/>
                  <a:gd name="T75" fmla="*/ 20 h 34"/>
                  <a:gd name="T76" fmla="*/ 20 w 30"/>
                  <a:gd name="T77" fmla="*/ 19 h 34"/>
                  <a:gd name="T78" fmla="*/ 13 w 30"/>
                  <a:gd name="T79" fmla="*/ 15 h 34"/>
                  <a:gd name="T80" fmla="*/ 9 w 30"/>
                  <a:gd name="T81" fmla="*/ 7 h 34"/>
                  <a:gd name="T82" fmla="*/ 8 w 30"/>
                  <a:gd name="T83" fmla="*/ 3 h 34"/>
                  <a:gd name="T84" fmla="*/ 7 w 30"/>
                  <a:gd name="T85" fmla="*/ 1 h 34"/>
                  <a:gd name="T86" fmla="*/ 5 w 30"/>
                  <a:gd name="T87" fmla="*/ 1 h 34"/>
                  <a:gd name="T88" fmla="*/ 3 w 30"/>
                  <a:gd name="T89" fmla="*/ 5 h 3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37" name="Freeform 293"/>
              <p:cNvSpPr>
                <a:spLocks/>
              </p:cNvSpPr>
              <p:nvPr/>
            </p:nvSpPr>
            <p:spPr bwMode="auto">
              <a:xfrm>
                <a:off x="-5126065" y="2482569"/>
                <a:ext cx="52169" cy="61496"/>
              </a:xfrm>
              <a:custGeom>
                <a:avLst/>
                <a:gdLst>
                  <a:gd name="T0" fmla="*/ 2 w 14"/>
                  <a:gd name="T1" fmla="*/ 8 h 16"/>
                  <a:gd name="T2" fmla="*/ 4 w 14"/>
                  <a:gd name="T3" fmla="*/ 8 h 16"/>
                  <a:gd name="T4" fmla="*/ 5 w 14"/>
                  <a:gd name="T5" fmla="*/ 6 h 16"/>
                  <a:gd name="T6" fmla="*/ 7 w 14"/>
                  <a:gd name="T7" fmla="*/ 4 h 16"/>
                  <a:gd name="T8" fmla="*/ 9 w 14"/>
                  <a:gd name="T9" fmla="*/ 5 h 16"/>
                  <a:gd name="T10" fmla="*/ 10 w 14"/>
                  <a:gd name="T11" fmla="*/ 8 h 16"/>
                  <a:gd name="T12" fmla="*/ 10 w 14"/>
                  <a:gd name="T13" fmla="*/ 8 h 16"/>
                  <a:gd name="T14" fmla="*/ 8 w 14"/>
                  <a:gd name="T15" fmla="*/ 11 h 16"/>
                  <a:gd name="T16" fmla="*/ 6 w 14"/>
                  <a:gd name="T17" fmla="*/ 12 h 16"/>
                  <a:gd name="T18" fmla="*/ 5 w 14"/>
                  <a:gd name="T19" fmla="*/ 11 h 16"/>
                  <a:gd name="T20" fmla="*/ 4 w 14"/>
                  <a:gd name="T21" fmla="*/ 9 h 16"/>
                  <a:gd name="T22" fmla="*/ 4 w 14"/>
                  <a:gd name="T23" fmla="*/ 8 h 16"/>
                  <a:gd name="T24" fmla="*/ 2 w 14"/>
                  <a:gd name="T25" fmla="*/ 8 h 16"/>
                  <a:gd name="T26" fmla="*/ 0 w 14"/>
                  <a:gd name="T27" fmla="*/ 8 h 16"/>
                  <a:gd name="T28" fmla="*/ 0 w 14"/>
                  <a:gd name="T29" fmla="*/ 9 h 16"/>
                  <a:gd name="T30" fmla="*/ 2 w 14"/>
                  <a:gd name="T31" fmla="*/ 14 h 16"/>
                  <a:gd name="T32" fmla="*/ 6 w 14"/>
                  <a:gd name="T33" fmla="*/ 16 h 16"/>
                  <a:gd name="T34" fmla="*/ 12 w 14"/>
                  <a:gd name="T35" fmla="*/ 14 h 16"/>
                  <a:gd name="T36" fmla="*/ 14 w 14"/>
                  <a:gd name="T37" fmla="*/ 8 h 16"/>
                  <a:gd name="T38" fmla="*/ 14 w 14"/>
                  <a:gd name="T39" fmla="*/ 8 h 16"/>
                  <a:gd name="T40" fmla="*/ 12 w 14"/>
                  <a:gd name="T41" fmla="*/ 3 h 16"/>
                  <a:gd name="T42" fmla="*/ 7 w 14"/>
                  <a:gd name="T43" fmla="*/ 0 h 16"/>
                  <a:gd name="T44" fmla="*/ 2 w 14"/>
                  <a:gd name="T45" fmla="*/ 3 h 16"/>
                  <a:gd name="T46" fmla="*/ 0 w 14"/>
                  <a:gd name="T47" fmla="*/ 8 h 16"/>
                  <a:gd name="T48" fmla="*/ 2 w 14"/>
                  <a:gd name="T49" fmla="*/ 8 h 1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38" name="Freeform 294"/>
              <p:cNvSpPr>
                <a:spLocks/>
              </p:cNvSpPr>
              <p:nvPr/>
            </p:nvSpPr>
            <p:spPr bwMode="auto">
              <a:xfrm>
                <a:off x="-4844351" y="3505842"/>
                <a:ext cx="117381" cy="98392"/>
              </a:xfrm>
              <a:custGeom>
                <a:avLst/>
                <a:gdLst>
                  <a:gd name="T0" fmla="*/ 4 w 31"/>
                  <a:gd name="T1" fmla="*/ 6 h 26"/>
                  <a:gd name="T2" fmla="*/ 5 w 31"/>
                  <a:gd name="T3" fmla="*/ 4 h 26"/>
                  <a:gd name="T4" fmla="*/ 4 w 31"/>
                  <a:gd name="T5" fmla="*/ 4 h 26"/>
                  <a:gd name="T6" fmla="*/ 4 w 31"/>
                  <a:gd name="T7" fmla="*/ 3 h 26"/>
                  <a:gd name="T8" fmla="*/ 4 w 31"/>
                  <a:gd name="T9" fmla="*/ 4 h 26"/>
                  <a:gd name="T10" fmla="*/ 4 w 31"/>
                  <a:gd name="T11" fmla="*/ 4 h 26"/>
                  <a:gd name="T12" fmla="*/ 4 w 31"/>
                  <a:gd name="T13" fmla="*/ 3 h 26"/>
                  <a:gd name="T14" fmla="*/ 4 w 31"/>
                  <a:gd name="T15" fmla="*/ 4 h 26"/>
                  <a:gd name="T16" fmla="*/ 4 w 31"/>
                  <a:gd name="T17" fmla="*/ 4 h 26"/>
                  <a:gd name="T18" fmla="*/ 3 w 31"/>
                  <a:gd name="T19" fmla="*/ 4 h 26"/>
                  <a:gd name="T20" fmla="*/ 4 w 31"/>
                  <a:gd name="T21" fmla="*/ 5 h 26"/>
                  <a:gd name="T22" fmla="*/ 4 w 31"/>
                  <a:gd name="T23" fmla="*/ 4 h 26"/>
                  <a:gd name="T24" fmla="*/ 3 w 31"/>
                  <a:gd name="T25" fmla="*/ 4 h 26"/>
                  <a:gd name="T26" fmla="*/ 4 w 31"/>
                  <a:gd name="T27" fmla="*/ 5 h 26"/>
                  <a:gd name="T28" fmla="*/ 3 w 31"/>
                  <a:gd name="T29" fmla="*/ 4 h 26"/>
                  <a:gd name="T30" fmla="*/ 4 w 31"/>
                  <a:gd name="T31" fmla="*/ 5 h 26"/>
                  <a:gd name="T32" fmla="*/ 4 w 31"/>
                  <a:gd name="T33" fmla="*/ 5 h 26"/>
                  <a:gd name="T34" fmla="*/ 3 w 31"/>
                  <a:gd name="T35" fmla="*/ 4 h 26"/>
                  <a:gd name="T36" fmla="*/ 4 w 31"/>
                  <a:gd name="T37" fmla="*/ 5 h 26"/>
                  <a:gd name="T38" fmla="*/ 4 w 31"/>
                  <a:gd name="T39" fmla="*/ 5 h 26"/>
                  <a:gd name="T40" fmla="*/ 4 w 31"/>
                  <a:gd name="T41" fmla="*/ 5 h 26"/>
                  <a:gd name="T42" fmla="*/ 15 w 31"/>
                  <a:gd name="T43" fmla="*/ 6 h 26"/>
                  <a:gd name="T44" fmla="*/ 18 w 31"/>
                  <a:gd name="T45" fmla="*/ 8 h 26"/>
                  <a:gd name="T46" fmla="*/ 22 w 31"/>
                  <a:gd name="T47" fmla="*/ 11 h 26"/>
                  <a:gd name="T48" fmla="*/ 26 w 31"/>
                  <a:gd name="T49" fmla="*/ 17 h 26"/>
                  <a:gd name="T50" fmla="*/ 27 w 31"/>
                  <a:gd name="T51" fmla="*/ 19 h 26"/>
                  <a:gd name="T52" fmla="*/ 26 w 31"/>
                  <a:gd name="T53" fmla="*/ 21 h 26"/>
                  <a:gd name="T54" fmla="*/ 25 w 31"/>
                  <a:gd name="T55" fmla="*/ 22 h 26"/>
                  <a:gd name="T56" fmla="*/ 21 w 31"/>
                  <a:gd name="T57" fmla="*/ 20 h 26"/>
                  <a:gd name="T58" fmla="*/ 5 w 31"/>
                  <a:gd name="T59" fmla="*/ 4 h 26"/>
                  <a:gd name="T60" fmla="*/ 4 w 31"/>
                  <a:gd name="T61" fmla="*/ 6 h 26"/>
                  <a:gd name="T62" fmla="*/ 2 w 31"/>
                  <a:gd name="T63" fmla="*/ 7 h 26"/>
                  <a:gd name="T64" fmla="*/ 18 w 31"/>
                  <a:gd name="T65" fmla="*/ 23 h 26"/>
                  <a:gd name="T66" fmla="*/ 25 w 31"/>
                  <a:gd name="T67" fmla="*/ 26 h 26"/>
                  <a:gd name="T68" fmla="*/ 29 w 31"/>
                  <a:gd name="T69" fmla="*/ 25 h 26"/>
                  <a:gd name="T70" fmla="*/ 31 w 31"/>
                  <a:gd name="T71" fmla="*/ 19 h 26"/>
                  <a:gd name="T72" fmla="*/ 30 w 31"/>
                  <a:gd name="T73" fmla="*/ 14 h 26"/>
                  <a:gd name="T74" fmla="*/ 25 w 31"/>
                  <a:gd name="T75" fmla="*/ 9 h 26"/>
                  <a:gd name="T76" fmla="*/ 21 w 31"/>
                  <a:gd name="T77" fmla="*/ 4 h 26"/>
                  <a:gd name="T78" fmla="*/ 15 w 31"/>
                  <a:gd name="T79" fmla="*/ 2 h 26"/>
                  <a:gd name="T80" fmla="*/ 5 w 31"/>
                  <a:gd name="T81" fmla="*/ 1 h 26"/>
                  <a:gd name="T82" fmla="*/ 4 w 31"/>
                  <a:gd name="T83" fmla="*/ 0 h 26"/>
                  <a:gd name="T84" fmla="*/ 1 w 31"/>
                  <a:gd name="T85" fmla="*/ 1 h 26"/>
                  <a:gd name="T86" fmla="*/ 0 w 31"/>
                  <a:gd name="T87" fmla="*/ 4 h 26"/>
                  <a:gd name="T88" fmla="*/ 1 w 31"/>
                  <a:gd name="T89" fmla="*/ 6 h 26"/>
                  <a:gd name="T90" fmla="*/ 2 w 31"/>
                  <a:gd name="T91" fmla="*/ 7 h 26"/>
                  <a:gd name="T92" fmla="*/ 4 w 31"/>
                  <a:gd name="T93" fmla="*/ 6 h 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39" name="Freeform 295"/>
              <p:cNvSpPr>
                <a:spLocks/>
              </p:cNvSpPr>
              <p:nvPr/>
            </p:nvSpPr>
            <p:spPr bwMode="auto">
              <a:xfrm>
                <a:off x="-4455691" y="2664594"/>
                <a:ext cx="96512" cy="56576"/>
              </a:xfrm>
              <a:custGeom>
                <a:avLst/>
                <a:gdLst>
                  <a:gd name="T0" fmla="*/ 3 w 25"/>
                  <a:gd name="T1" fmla="*/ 7 h 15"/>
                  <a:gd name="T2" fmla="*/ 5 w 25"/>
                  <a:gd name="T3" fmla="*/ 7 h 15"/>
                  <a:gd name="T4" fmla="*/ 5 w 25"/>
                  <a:gd name="T5" fmla="*/ 6 h 15"/>
                  <a:gd name="T6" fmla="*/ 5 w 25"/>
                  <a:gd name="T7" fmla="*/ 4 h 15"/>
                  <a:gd name="T8" fmla="*/ 7 w 25"/>
                  <a:gd name="T9" fmla="*/ 4 h 15"/>
                  <a:gd name="T10" fmla="*/ 17 w 25"/>
                  <a:gd name="T11" fmla="*/ 4 h 15"/>
                  <a:gd name="T12" fmla="*/ 19 w 25"/>
                  <a:gd name="T13" fmla="*/ 5 h 15"/>
                  <a:gd name="T14" fmla="*/ 20 w 25"/>
                  <a:gd name="T15" fmla="*/ 7 h 15"/>
                  <a:gd name="T16" fmla="*/ 20 w 25"/>
                  <a:gd name="T17" fmla="*/ 8 h 15"/>
                  <a:gd name="T18" fmla="*/ 20 w 25"/>
                  <a:gd name="T19" fmla="*/ 10 h 15"/>
                  <a:gd name="T20" fmla="*/ 18 w 25"/>
                  <a:gd name="T21" fmla="*/ 11 h 15"/>
                  <a:gd name="T22" fmla="*/ 9 w 25"/>
                  <a:gd name="T23" fmla="*/ 11 h 15"/>
                  <a:gd name="T24" fmla="*/ 6 w 25"/>
                  <a:gd name="T25" fmla="*/ 10 h 15"/>
                  <a:gd name="T26" fmla="*/ 5 w 25"/>
                  <a:gd name="T27" fmla="*/ 7 h 15"/>
                  <a:gd name="T28" fmla="*/ 3 w 25"/>
                  <a:gd name="T29" fmla="*/ 7 h 15"/>
                  <a:gd name="T30" fmla="*/ 1 w 25"/>
                  <a:gd name="T31" fmla="*/ 8 h 15"/>
                  <a:gd name="T32" fmla="*/ 4 w 25"/>
                  <a:gd name="T33" fmla="*/ 13 h 15"/>
                  <a:gd name="T34" fmla="*/ 9 w 25"/>
                  <a:gd name="T35" fmla="*/ 15 h 15"/>
                  <a:gd name="T36" fmla="*/ 18 w 25"/>
                  <a:gd name="T37" fmla="*/ 15 h 15"/>
                  <a:gd name="T38" fmla="*/ 23 w 25"/>
                  <a:gd name="T39" fmla="*/ 13 h 15"/>
                  <a:gd name="T40" fmla="*/ 25 w 25"/>
                  <a:gd name="T41" fmla="*/ 8 h 15"/>
                  <a:gd name="T42" fmla="*/ 25 w 25"/>
                  <a:gd name="T43" fmla="*/ 7 h 15"/>
                  <a:gd name="T44" fmla="*/ 22 w 25"/>
                  <a:gd name="T45" fmla="*/ 2 h 15"/>
                  <a:gd name="T46" fmla="*/ 17 w 25"/>
                  <a:gd name="T47" fmla="*/ 0 h 15"/>
                  <a:gd name="T48" fmla="*/ 7 w 25"/>
                  <a:gd name="T49" fmla="*/ 0 h 15"/>
                  <a:gd name="T50" fmla="*/ 2 w 25"/>
                  <a:gd name="T51" fmla="*/ 1 h 15"/>
                  <a:gd name="T52" fmla="*/ 0 w 25"/>
                  <a:gd name="T53" fmla="*/ 6 h 15"/>
                  <a:gd name="T54" fmla="*/ 1 w 25"/>
                  <a:gd name="T55" fmla="*/ 8 h 15"/>
                  <a:gd name="T56" fmla="*/ 3 w 25"/>
                  <a:gd name="T57" fmla="*/ 7 h 1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40" name="Freeform 296"/>
              <p:cNvSpPr>
                <a:spLocks/>
              </p:cNvSpPr>
              <p:nvPr/>
            </p:nvSpPr>
            <p:spPr bwMode="auto">
              <a:xfrm>
                <a:off x="-3430568" y="2822020"/>
                <a:ext cx="86080" cy="164807"/>
              </a:xfrm>
              <a:custGeom>
                <a:avLst/>
                <a:gdLst>
                  <a:gd name="T0" fmla="*/ 3 w 23"/>
                  <a:gd name="T1" fmla="*/ 9 h 44"/>
                  <a:gd name="T2" fmla="*/ 1 w 23"/>
                  <a:gd name="T3" fmla="*/ 15 h 44"/>
                  <a:gd name="T4" fmla="*/ 6 w 23"/>
                  <a:gd name="T5" fmla="*/ 21 h 44"/>
                  <a:gd name="T6" fmla="*/ 6 w 23"/>
                  <a:gd name="T7" fmla="*/ 23 h 44"/>
                  <a:gd name="T8" fmla="*/ 2 w 23"/>
                  <a:gd name="T9" fmla="*/ 34 h 44"/>
                  <a:gd name="T10" fmla="*/ 0 w 23"/>
                  <a:gd name="T11" fmla="*/ 40 h 44"/>
                  <a:gd name="T12" fmla="*/ 0 w 23"/>
                  <a:gd name="T13" fmla="*/ 42 h 44"/>
                  <a:gd name="T14" fmla="*/ 2 w 23"/>
                  <a:gd name="T15" fmla="*/ 44 h 44"/>
                  <a:gd name="T16" fmla="*/ 4 w 23"/>
                  <a:gd name="T17" fmla="*/ 43 h 44"/>
                  <a:gd name="T18" fmla="*/ 15 w 23"/>
                  <a:gd name="T19" fmla="*/ 37 h 44"/>
                  <a:gd name="T20" fmla="*/ 23 w 23"/>
                  <a:gd name="T21" fmla="*/ 24 h 44"/>
                  <a:gd name="T22" fmla="*/ 14 w 23"/>
                  <a:gd name="T23" fmla="*/ 7 h 44"/>
                  <a:gd name="T24" fmla="*/ 12 w 23"/>
                  <a:gd name="T25" fmla="*/ 4 h 44"/>
                  <a:gd name="T26" fmla="*/ 12 w 23"/>
                  <a:gd name="T27" fmla="*/ 4 h 44"/>
                  <a:gd name="T28" fmla="*/ 12 w 23"/>
                  <a:gd name="T29" fmla="*/ 4 h 44"/>
                  <a:gd name="T30" fmla="*/ 12 w 23"/>
                  <a:gd name="T31" fmla="*/ 4 h 44"/>
                  <a:gd name="T32" fmla="*/ 12 w 23"/>
                  <a:gd name="T33" fmla="*/ 4 h 44"/>
                  <a:gd name="T34" fmla="*/ 12 w 23"/>
                  <a:gd name="T35" fmla="*/ 3 h 44"/>
                  <a:gd name="T36" fmla="*/ 10 w 23"/>
                  <a:gd name="T37" fmla="*/ 0 h 44"/>
                  <a:gd name="T38" fmla="*/ 4 w 23"/>
                  <a:gd name="T39" fmla="*/ 4 h 44"/>
                  <a:gd name="T40" fmla="*/ 5 w 23"/>
                  <a:gd name="T41" fmla="*/ 9 h 44"/>
                  <a:gd name="T42" fmla="*/ 8 w 23"/>
                  <a:gd name="T43" fmla="*/ 6 h 44"/>
                  <a:gd name="T44" fmla="*/ 10 w 23"/>
                  <a:gd name="T45" fmla="*/ 5 h 44"/>
                  <a:gd name="T46" fmla="*/ 10 w 23"/>
                  <a:gd name="T47" fmla="*/ 4 h 44"/>
                  <a:gd name="T48" fmla="*/ 10 w 23"/>
                  <a:gd name="T49" fmla="*/ 5 h 44"/>
                  <a:gd name="T50" fmla="*/ 10 w 23"/>
                  <a:gd name="T51" fmla="*/ 5 h 44"/>
                  <a:gd name="T52" fmla="*/ 9 w 23"/>
                  <a:gd name="T53" fmla="*/ 4 h 44"/>
                  <a:gd name="T54" fmla="*/ 10 w 23"/>
                  <a:gd name="T55" fmla="*/ 3 h 44"/>
                  <a:gd name="T56" fmla="*/ 10 w 23"/>
                  <a:gd name="T57" fmla="*/ 3 h 44"/>
                  <a:gd name="T58" fmla="*/ 9 w 23"/>
                  <a:gd name="T59" fmla="*/ 4 h 44"/>
                  <a:gd name="T60" fmla="*/ 8 w 23"/>
                  <a:gd name="T61" fmla="*/ 3 h 44"/>
                  <a:gd name="T62" fmla="*/ 8 w 23"/>
                  <a:gd name="T63" fmla="*/ 3 h 44"/>
                  <a:gd name="T64" fmla="*/ 9 w 23"/>
                  <a:gd name="T65" fmla="*/ 3 h 44"/>
                  <a:gd name="T66" fmla="*/ 8 w 23"/>
                  <a:gd name="T67" fmla="*/ 3 h 44"/>
                  <a:gd name="T68" fmla="*/ 9 w 23"/>
                  <a:gd name="T69" fmla="*/ 7 h 44"/>
                  <a:gd name="T70" fmla="*/ 19 w 23"/>
                  <a:gd name="T71" fmla="*/ 24 h 44"/>
                  <a:gd name="T72" fmla="*/ 10 w 23"/>
                  <a:gd name="T73" fmla="*/ 35 h 44"/>
                  <a:gd name="T74" fmla="*/ 2 w 23"/>
                  <a:gd name="T75" fmla="*/ 40 h 44"/>
                  <a:gd name="T76" fmla="*/ 2 w 23"/>
                  <a:gd name="T77" fmla="*/ 41 h 44"/>
                  <a:gd name="T78" fmla="*/ 2 w 23"/>
                  <a:gd name="T79" fmla="*/ 40 h 44"/>
                  <a:gd name="T80" fmla="*/ 2 w 23"/>
                  <a:gd name="T81" fmla="*/ 40 h 44"/>
                  <a:gd name="T82" fmla="*/ 4 w 23"/>
                  <a:gd name="T83" fmla="*/ 41 h 44"/>
                  <a:gd name="T84" fmla="*/ 2 w 23"/>
                  <a:gd name="T85" fmla="*/ 42 h 44"/>
                  <a:gd name="T86" fmla="*/ 2 w 23"/>
                  <a:gd name="T87" fmla="*/ 42 h 44"/>
                  <a:gd name="T88" fmla="*/ 4 w 23"/>
                  <a:gd name="T89" fmla="*/ 41 h 44"/>
                  <a:gd name="T90" fmla="*/ 4 w 23"/>
                  <a:gd name="T91" fmla="*/ 42 h 44"/>
                  <a:gd name="T92" fmla="*/ 4 w 23"/>
                  <a:gd name="T93" fmla="*/ 42 h 44"/>
                  <a:gd name="T94" fmla="*/ 3 w 23"/>
                  <a:gd name="T95" fmla="*/ 42 h 44"/>
                  <a:gd name="T96" fmla="*/ 5 w 23"/>
                  <a:gd name="T97" fmla="*/ 41 h 44"/>
                  <a:gd name="T98" fmla="*/ 7 w 23"/>
                  <a:gd name="T99" fmla="*/ 34 h 44"/>
                  <a:gd name="T100" fmla="*/ 10 w 23"/>
                  <a:gd name="T101" fmla="*/ 23 h 44"/>
                  <a:gd name="T102" fmla="*/ 9 w 23"/>
                  <a:gd name="T103" fmla="*/ 18 h 44"/>
                  <a:gd name="T104" fmla="*/ 6 w 23"/>
                  <a:gd name="T105" fmla="*/ 16 h 44"/>
                  <a:gd name="T106" fmla="*/ 6 w 23"/>
                  <a:gd name="T107" fmla="*/ 13 h 44"/>
                  <a:gd name="T108" fmla="*/ 5 w 23"/>
                  <a:gd name="T109" fmla="*/ 9 h 4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41" name="Freeform 297"/>
              <p:cNvSpPr>
                <a:spLocks/>
              </p:cNvSpPr>
              <p:nvPr/>
            </p:nvSpPr>
            <p:spPr bwMode="auto">
              <a:xfrm>
                <a:off x="-3487954" y="2888436"/>
                <a:ext cx="65212" cy="66414"/>
              </a:xfrm>
              <a:custGeom>
                <a:avLst/>
                <a:gdLst>
                  <a:gd name="T0" fmla="*/ 10 w 18"/>
                  <a:gd name="T1" fmla="*/ 2 h 17"/>
                  <a:gd name="T2" fmla="*/ 10 w 18"/>
                  <a:gd name="T3" fmla="*/ 4 h 17"/>
                  <a:gd name="T4" fmla="*/ 13 w 18"/>
                  <a:gd name="T5" fmla="*/ 5 h 17"/>
                  <a:gd name="T6" fmla="*/ 14 w 18"/>
                  <a:gd name="T7" fmla="*/ 6 h 17"/>
                  <a:gd name="T8" fmla="*/ 14 w 18"/>
                  <a:gd name="T9" fmla="*/ 6 h 17"/>
                  <a:gd name="T10" fmla="*/ 14 w 18"/>
                  <a:gd name="T11" fmla="*/ 6 h 17"/>
                  <a:gd name="T12" fmla="*/ 14 w 18"/>
                  <a:gd name="T13" fmla="*/ 6 h 17"/>
                  <a:gd name="T14" fmla="*/ 14 w 18"/>
                  <a:gd name="T15" fmla="*/ 6 h 17"/>
                  <a:gd name="T16" fmla="*/ 14 w 18"/>
                  <a:gd name="T17" fmla="*/ 6 h 17"/>
                  <a:gd name="T18" fmla="*/ 14 w 18"/>
                  <a:gd name="T19" fmla="*/ 6 h 17"/>
                  <a:gd name="T20" fmla="*/ 14 w 18"/>
                  <a:gd name="T21" fmla="*/ 6 h 17"/>
                  <a:gd name="T22" fmla="*/ 12 w 18"/>
                  <a:gd name="T23" fmla="*/ 10 h 17"/>
                  <a:gd name="T24" fmla="*/ 11 w 18"/>
                  <a:gd name="T25" fmla="*/ 11 h 17"/>
                  <a:gd name="T26" fmla="*/ 10 w 18"/>
                  <a:gd name="T27" fmla="*/ 12 h 17"/>
                  <a:gd name="T28" fmla="*/ 6 w 18"/>
                  <a:gd name="T29" fmla="*/ 12 h 17"/>
                  <a:gd name="T30" fmla="*/ 4 w 18"/>
                  <a:gd name="T31" fmla="*/ 12 h 17"/>
                  <a:gd name="T32" fmla="*/ 4 w 18"/>
                  <a:gd name="T33" fmla="*/ 12 h 17"/>
                  <a:gd name="T34" fmla="*/ 4 w 18"/>
                  <a:gd name="T35" fmla="*/ 11 h 17"/>
                  <a:gd name="T36" fmla="*/ 7 w 18"/>
                  <a:gd name="T37" fmla="*/ 6 h 17"/>
                  <a:gd name="T38" fmla="*/ 10 w 18"/>
                  <a:gd name="T39" fmla="*/ 4 h 17"/>
                  <a:gd name="T40" fmla="*/ 10 w 18"/>
                  <a:gd name="T41" fmla="*/ 2 h 17"/>
                  <a:gd name="T42" fmla="*/ 10 w 18"/>
                  <a:gd name="T43" fmla="*/ 0 h 17"/>
                  <a:gd name="T44" fmla="*/ 4 w 18"/>
                  <a:gd name="T45" fmla="*/ 3 h 17"/>
                  <a:gd name="T46" fmla="*/ 0 w 18"/>
                  <a:gd name="T47" fmla="*/ 10 h 17"/>
                  <a:gd name="T48" fmla="*/ 0 w 18"/>
                  <a:gd name="T49" fmla="*/ 12 h 17"/>
                  <a:gd name="T50" fmla="*/ 2 w 18"/>
                  <a:gd name="T51" fmla="*/ 16 h 17"/>
                  <a:gd name="T52" fmla="*/ 6 w 18"/>
                  <a:gd name="T53" fmla="*/ 17 h 17"/>
                  <a:gd name="T54" fmla="*/ 11 w 18"/>
                  <a:gd name="T55" fmla="*/ 16 h 17"/>
                  <a:gd name="T56" fmla="*/ 14 w 18"/>
                  <a:gd name="T57" fmla="*/ 14 h 17"/>
                  <a:gd name="T58" fmla="*/ 16 w 18"/>
                  <a:gd name="T59" fmla="*/ 11 h 17"/>
                  <a:gd name="T60" fmla="*/ 18 w 18"/>
                  <a:gd name="T61" fmla="*/ 8 h 17"/>
                  <a:gd name="T62" fmla="*/ 18 w 18"/>
                  <a:gd name="T63" fmla="*/ 6 h 17"/>
                  <a:gd name="T64" fmla="*/ 17 w 18"/>
                  <a:gd name="T65" fmla="*/ 3 h 17"/>
                  <a:gd name="T66" fmla="*/ 13 w 18"/>
                  <a:gd name="T67" fmla="*/ 1 h 17"/>
                  <a:gd name="T68" fmla="*/ 10 w 18"/>
                  <a:gd name="T69" fmla="*/ 0 h 17"/>
                  <a:gd name="T70" fmla="*/ 10 w 18"/>
                  <a:gd name="T71" fmla="*/ 2 h 1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42" name="Freeform 298"/>
              <p:cNvSpPr>
                <a:spLocks/>
              </p:cNvSpPr>
              <p:nvPr/>
            </p:nvSpPr>
            <p:spPr bwMode="auto">
              <a:xfrm>
                <a:off x="-5084329" y="2418615"/>
                <a:ext cx="7826" cy="1584105"/>
              </a:xfrm>
              <a:custGeom>
                <a:avLst/>
                <a:gdLst>
                  <a:gd name="T0" fmla="*/ 2 w 2"/>
                  <a:gd name="T1" fmla="*/ 421 h 421"/>
                  <a:gd name="T2" fmla="*/ 0 w 2"/>
                  <a:gd name="T3" fmla="*/ 0 h 421"/>
                  <a:gd name="T4" fmla="*/ 0 60000 65536"/>
                  <a:gd name="T5" fmla="*/ 0 60000 65536"/>
                </a:gdLst>
                <a:ahLst/>
                <a:cxnLst>
                  <a:cxn ang="T4">
                    <a:pos x="T0" y="T1"/>
                  </a:cxn>
                  <a:cxn ang="T5">
                    <a:pos x="T2" y="T3"/>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900"/>
              </a:p>
            </p:txBody>
          </p:sp>
          <p:sp>
            <p:nvSpPr>
              <p:cNvPr id="143" name="Freeform 299"/>
              <p:cNvSpPr>
                <a:spLocks/>
              </p:cNvSpPr>
              <p:nvPr/>
            </p:nvSpPr>
            <p:spPr bwMode="auto">
              <a:xfrm>
                <a:off x="-2901051" y="2418615"/>
                <a:ext cx="646897" cy="1648059"/>
              </a:xfrm>
              <a:custGeom>
                <a:avLst/>
                <a:gdLst>
                  <a:gd name="T0" fmla="*/ 0 w 172"/>
                  <a:gd name="T1" fmla="*/ 0 h 438"/>
                  <a:gd name="T2" fmla="*/ 136 w 172"/>
                  <a:gd name="T3" fmla="*/ 198 h 438"/>
                  <a:gd name="T4" fmla="*/ 170 w 172"/>
                  <a:gd name="T5" fmla="*/ 438 h 438"/>
                  <a:gd name="T6" fmla="*/ 0 60000 65536"/>
                  <a:gd name="T7" fmla="*/ 0 60000 65536"/>
                  <a:gd name="T8" fmla="*/ 0 60000 65536"/>
                </a:gdLst>
                <a:ahLst/>
                <a:cxnLst>
                  <a:cxn ang="T6">
                    <a:pos x="T0" y="T1"/>
                  </a:cxn>
                  <a:cxn ang="T7">
                    <a:pos x="T2" y="T3"/>
                  </a:cxn>
                  <a:cxn ang="T8">
                    <a:pos x="T4" y="T5"/>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900"/>
              </a:p>
            </p:txBody>
          </p:sp>
        </p:grpSp>
        <p:grpSp>
          <p:nvGrpSpPr>
            <p:cNvPr id="16" name="Group 21"/>
            <p:cNvGrpSpPr>
              <a:grpSpLocks/>
            </p:cNvGrpSpPr>
            <p:nvPr userDrawn="1">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552" y="4042484"/>
                <a:ext cx="55972"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18" name="Oval 23"/>
              <p:cNvSpPr/>
              <p:nvPr/>
            </p:nvSpPr>
            <p:spPr>
              <a:xfrm>
                <a:off x="6449895" y="4283171"/>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19" name="Oval 24"/>
              <p:cNvSpPr/>
              <p:nvPr/>
            </p:nvSpPr>
            <p:spPr>
              <a:xfrm>
                <a:off x="6528256" y="4500635"/>
                <a:ext cx="55973"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20" name="Oval 25"/>
              <p:cNvSpPr/>
              <p:nvPr/>
            </p:nvSpPr>
            <p:spPr>
              <a:xfrm>
                <a:off x="6684979" y="4680095"/>
                <a:ext cx="55973"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21" name="Oval 26"/>
              <p:cNvSpPr/>
              <p:nvPr/>
            </p:nvSpPr>
            <p:spPr>
              <a:xfrm>
                <a:off x="7235748" y="5150914"/>
                <a:ext cx="55973"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22" name="Oval 27"/>
              <p:cNvSpPr/>
              <p:nvPr/>
            </p:nvSpPr>
            <p:spPr>
              <a:xfrm>
                <a:off x="6969320" y="5484499"/>
                <a:ext cx="5373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23" name="Oval 28"/>
              <p:cNvSpPr/>
              <p:nvPr/>
            </p:nvSpPr>
            <p:spPr>
              <a:xfrm>
                <a:off x="7121565" y="5524613"/>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24" name="Oval 29"/>
              <p:cNvSpPr/>
              <p:nvPr/>
            </p:nvSpPr>
            <p:spPr>
              <a:xfrm>
                <a:off x="9819436" y="5476054"/>
                <a:ext cx="55973"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25" name="Oval 30"/>
              <p:cNvSpPr/>
              <p:nvPr/>
            </p:nvSpPr>
            <p:spPr>
              <a:xfrm>
                <a:off x="9273145" y="4965120"/>
                <a:ext cx="55973"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26" name="Oval 31"/>
              <p:cNvSpPr/>
              <p:nvPr/>
            </p:nvSpPr>
            <p:spPr>
              <a:xfrm>
                <a:off x="9324640" y="4696985"/>
                <a:ext cx="55972"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27" name="Oval 32"/>
              <p:cNvSpPr/>
              <p:nvPr/>
            </p:nvSpPr>
            <p:spPr>
              <a:xfrm>
                <a:off x="9409718" y="4726543"/>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28" name="Oval 33"/>
              <p:cNvSpPr/>
              <p:nvPr/>
            </p:nvSpPr>
            <p:spPr>
              <a:xfrm>
                <a:off x="9418674" y="4589310"/>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29" name="Oval 34"/>
              <p:cNvSpPr/>
              <p:nvPr/>
            </p:nvSpPr>
            <p:spPr>
              <a:xfrm>
                <a:off x="9096272" y="4399293"/>
                <a:ext cx="55972"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30" name="Oval 35"/>
              <p:cNvSpPr/>
              <p:nvPr/>
            </p:nvSpPr>
            <p:spPr>
              <a:xfrm>
                <a:off x="8932832" y="4684318"/>
                <a:ext cx="55973"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31" name="Oval 36"/>
              <p:cNvSpPr/>
              <p:nvPr/>
            </p:nvSpPr>
            <p:spPr>
              <a:xfrm>
                <a:off x="8601475" y="4547084"/>
                <a:ext cx="55973"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32" name="Oval 37"/>
              <p:cNvSpPr/>
              <p:nvPr/>
            </p:nvSpPr>
            <p:spPr>
              <a:xfrm>
                <a:off x="8612671" y="4673762"/>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33" name="Oval 38"/>
              <p:cNvSpPr/>
              <p:nvPr/>
            </p:nvSpPr>
            <p:spPr>
              <a:xfrm>
                <a:off x="8368630" y="4378180"/>
                <a:ext cx="55973"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34" name="Oval 39"/>
              <p:cNvSpPr/>
              <p:nvPr/>
            </p:nvSpPr>
            <p:spPr>
              <a:xfrm>
                <a:off x="7844728" y="4437297"/>
                <a:ext cx="55973"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35" name="Oval 40"/>
              <p:cNvSpPr/>
              <p:nvPr/>
            </p:nvSpPr>
            <p:spPr>
              <a:xfrm>
                <a:off x="7914134" y="4259948"/>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36" name="Oval 41"/>
              <p:cNvSpPr/>
              <p:nvPr/>
            </p:nvSpPr>
            <p:spPr>
              <a:xfrm>
                <a:off x="7983540" y="4259948"/>
                <a:ext cx="55973"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37" name="Oval 42"/>
              <p:cNvSpPr/>
              <p:nvPr/>
            </p:nvSpPr>
            <p:spPr>
              <a:xfrm>
                <a:off x="8052946" y="4173384"/>
                <a:ext cx="55972"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38" name="Oval 43"/>
              <p:cNvSpPr/>
              <p:nvPr/>
            </p:nvSpPr>
            <p:spPr>
              <a:xfrm>
                <a:off x="8030557" y="4048818"/>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39" name="Oval 44"/>
              <p:cNvSpPr/>
              <p:nvPr/>
            </p:nvSpPr>
            <p:spPr>
              <a:xfrm>
                <a:off x="8138024" y="3926363"/>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40" name="Oval 45"/>
              <p:cNvSpPr/>
              <p:nvPr/>
            </p:nvSpPr>
            <p:spPr>
              <a:xfrm>
                <a:off x="8211907" y="3966477"/>
                <a:ext cx="55973"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41" name="Oval 46"/>
              <p:cNvSpPr/>
              <p:nvPr/>
            </p:nvSpPr>
            <p:spPr>
              <a:xfrm>
                <a:off x="8146980" y="4034039"/>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42" name="Oval 47"/>
              <p:cNvSpPr/>
              <p:nvPr/>
            </p:nvSpPr>
            <p:spPr>
              <a:xfrm>
                <a:off x="8086529" y="4124825"/>
                <a:ext cx="55973"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43" name="Oval 48"/>
              <p:cNvSpPr/>
              <p:nvPr/>
            </p:nvSpPr>
            <p:spPr>
              <a:xfrm>
                <a:off x="8149218" y="4116380"/>
                <a:ext cx="55973"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44" name="Oval 49"/>
              <p:cNvSpPr/>
              <p:nvPr/>
            </p:nvSpPr>
            <p:spPr>
              <a:xfrm>
                <a:off x="8205191" y="4148048"/>
                <a:ext cx="5373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45" name="Oval 50"/>
              <p:cNvSpPr/>
              <p:nvPr/>
            </p:nvSpPr>
            <p:spPr>
              <a:xfrm>
                <a:off x="8241014" y="4198720"/>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46" name="Oval 51"/>
              <p:cNvSpPr/>
              <p:nvPr/>
            </p:nvSpPr>
            <p:spPr>
              <a:xfrm>
                <a:off x="8243252" y="4259948"/>
                <a:ext cx="55973"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47" name="Oval 52"/>
              <p:cNvSpPr/>
              <p:nvPr/>
            </p:nvSpPr>
            <p:spPr>
              <a:xfrm>
                <a:off x="8171607" y="4276838"/>
                <a:ext cx="55973"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48" name="Oval 53"/>
              <p:cNvSpPr/>
              <p:nvPr/>
            </p:nvSpPr>
            <p:spPr>
              <a:xfrm>
                <a:off x="8129069" y="4202942"/>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grpSp>
      </p:grpSp>
      <p:sp>
        <p:nvSpPr>
          <p:cNvPr id="344" name="Rectangle 9"/>
          <p:cNvSpPr>
            <a:spLocks noChangeArrowheads="1"/>
          </p:cNvSpPr>
          <p:nvPr userDrawn="1">
            <p:custDataLst>
              <p:tags r:id="rId15"/>
            </p:custDataLst>
          </p:nvPr>
        </p:nvSpPr>
        <p:spPr bwMode="gray">
          <a:xfrm>
            <a:off x="1117963" y="3617151"/>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1400" eaLnBrk="1" hangingPunct="1">
              <a:defRPr/>
            </a:pPr>
            <a:r>
              <a:rPr lang="en-US" sz="1900" b="1">
                <a:solidFill>
                  <a:schemeClr val="bg1"/>
                </a:solidFill>
                <a:latin typeface="Arial" charset="0"/>
                <a:cs typeface="Arial" pitchFamily="34" charset="0"/>
              </a:rPr>
              <a:t>About Capgemini</a:t>
            </a:r>
            <a:endParaRPr lang="en-US" sz="1000">
              <a:solidFill>
                <a:schemeClr val="bg1"/>
              </a:solidFill>
              <a:latin typeface="Arial" charset="0"/>
            </a:endParaRPr>
          </a:p>
          <a:p>
            <a:pPr algn="just" defTabSz="1041400" eaLnBrk="1" hangingPunct="1">
              <a:defRPr/>
            </a:pPr>
            <a:endParaRPr lang="en-US" sz="1000">
              <a:solidFill>
                <a:schemeClr val="bg1"/>
              </a:solidFill>
              <a:latin typeface="Arial" charset="0"/>
            </a:endParaRPr>
          </a:p>
          <a:p>
            <a:pPr algn="just" defTabSz="1041400" eaLnBrk="1" hangingPunct="1">
              <a:defRPr/>
            </a:pPr>
            <a:r>
              <a:rPr lang="en-US" sz="1000">
                <a:solidFill>
                  <a:schemeClr val="bg1"/>
                </a:solidFill>
                <a:latin typeface="Arial" charset="0"/>
              </a:rPr>
              <a:t>With more than 180,000 people in 44 countries, Capgemini is one of the world's foremost providers of consulting, technology and outsourcing services. The Group reported 2014 global revenues of EUR 10.1 billion.</a:t>
            </a:r>
          </a:p>
          <a:p>
            <a:pPr algn="just" defTabSz="1041400" eaLnBrk="1" hangingPunct="1">
              <a:defRPr/>
            </a:pPr>
            <a:r>
              <a:rPr lang="en-US" sz="1000">
                <a:solidFill>
                  <a:schemeClr val="bg1"/>
                </a:solidFill>
                <a:latin typeface="Arial"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a:solidFill>
                  <a:schemeClr val="bg1"/>
                </a:solidFill>
                <a:latin typeface="Arial" charset="0"/>
              </a:rPr>
              <a:t>TM</a:t>
            </a:r>
            <a:r>
              <a:rPr lang="en-US" sz="1000">
                <a:solidFill>
                  <a:schemeClr val="bg1"/>
                </a:solidFill>
                <a:latin typeface="Arial" charset="0"/>
              </a:rPr>
              <a:t>, and draws on Rightshore</a:t>
            </a:r>
            <a:r>
              <a:rPr lang="en-US" sz="1000" b="1" baseline="30000">
                <a:solidFill>
                  <a:schemeClr val="bg1"/>
                </a:solidFill>
                <a:latin typeface="Arial" charset="0"/>
              </a:rPr>
              <a:t> ®</a:t>
            </a:r>
            <a:r>
              <a:rPr lang="en-US" sz="1000">
                <a:solidFill>
                  <a:schemeClr val="bg1"/>
                </a:solidFill>
                <a:latin typeface="Arial" charset="0"/>
              </a:rPr>
              <a:t>, its worldwide delivery model.</a:t>
            </a:r>
          </a:p>
          <a:p>
            <a:pPr algn="just" defTabSz="1041400" eaLnBrk="1" hangingPunct="1">
              <a:defRPr/>
            </a:pPr>
            <a:endParaRPr lang="en-US" sz="1000">
              <a:solidFill>
                <a:schemeClr val="bg1"/>
              </a:solidFill>
              <a:latin typeface="Arial" charset="0"/>
            </a:endParaRPr>
          </a:p>
          <a:p>
            <a:pPr algn="just" defTabSz="1041400" eaLnBrk="1" hangingPunct="1">
              <a:defRPr/>
            </a:pPr>
            <a:r>
              <a:rPr lang="en-US" sz="900" i="1">
                <a:solidFill>
                  <a:schemeClr val="bg1"/>
                </a:solidFill>
                <a:latin typeface="Arial" charset="0"/>
              </a:rPr>
              <a:t>Rightshore</a:t>
            </a:r>
            <a:r>
              <a:rPr lang="en-US" sz="900" i="1" baseline="30000">
                <a:solidFill>
                  <a:schemeClr val="bg1"/>
                </a:solidFill>
                <a:latin typeface="Arial" charset="0"/>
              </a:rPr>
              <a:t>®</a:t>
            </a:r>
            <a:r>
              <a:rPr lang="en-US" sz="900" i="1">
                <a:solidFill>
                  <a:schemeClr val="bg1"/>
                </a:solidFill>
                <a:latin typeface="Arial" charset="0"/>
              </a:rPr>
              <a:t> is a trademark belonging to Capgemini</a:t>
            </a:r>
            <a:endParaRPr lang="en-US" sz="900" b="1" noProof="1">
              <a:solidFill>
                <a:schemeClr val="bg1"/>
              </a:solidFill>
              <a:latin typeface="Arial" charset="0"/>
            </a:endParaRPr>
          </a:p>
        </p:txBody>
      </p:sp>
      <p:pic>
        <p:nvPicPr>
          <p:cNvPr id="345" name="Image 337" descr="CBE_Label_ppt.png"/>
          <p:cNvPicPr>
            <a:picLocks noChangeAspect="1"/>
          </p:cNvPicPr>
          <p:nvPr userDrawn="1"/>
        </p:nvPicPr>
        <p:blipFill>
          <a:blip r:embed="rId34" cstate="print">
            <a:extLst>
              <a:ext uri="{28A0092B-C50C-407E-A947-70E740481C1C}">
                <a14:useLocalDpi xmlns:a14="http://schemas.microsoft.com/office/drawing/2010/main" val="0"/>
              </a:ext>
            </a:extLst>
          </a:blip>
          <a:srcRect/>
          <a:stretch>
            <a:fillRect/>
          </a:stretch>
        </p:blipFill>
        <p:spPr bwMode="auto">
          <a:xfrm>
            <a:off x="868496" y="3468689"/>
            <a:ext cx="519377"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544903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64" name="think-cell Slide" r:id="rId19" imgW="360" imgH="360" progId="">
                  <p:embed/>
                </p:oleObj>
              </mc:Choice>
              <mc:Fallback>
                <p:oleObj name="think-cell Slide" r:id="rId19" imgW="360" imgH="360" progId="">
                  <p:embed/>
                  <p:pic>
                    <p:nvPicPr>
                      <p:cNvPr id="0" name="Picture 36"/>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1265" name="think-cell Slide" r:id="rId33" imgW="360" imgH="360" progId="">
                  <p:embed/>
                </p:oleObj>
              </mc:Choice>
              <mc:Fallback>
                <p:oleObj name="think-cell Slide" r:id="rId33" imgW="360" imgH="360" progId="">
                  <p:embed/>
                  <p:pic>
                    <p:nvPicPr>
                      <p:cNvPr id="0" name="Picture 37"/>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userDrawn="1">
            <p:custDataLst>
              <p:tags r:id="rId14"/>
            </p:custDataLst>
          </p:nvPr>
        </p:nvGrpSpPr>
        <p:grpSpPr bwMode="auto">
          <a:xfrm>
            <a:off x="5781675" y="3259138"/>
            <a:ext cx="3702050" cy="2117725"/>
            <a:chOff x="5511798" y="3584333"/>
            <a:chExt cx="4818106" cy="2816468"/>
          </a:xfrm>
        </p:grpSpPr>
        <p:grpSp>
          <p:nvGrpSpPr>
            <p:cNvPr id="15" name="Group 54"/>
            <p:cNvGrpSpPr>
              <a:grpSpLocks/>
            </p:cNvGrpSpPr>
            <p:nvPr userDrawn="1">
              <p:custDataLst>
                <p:tags r:id="rId16"/>
              </p:custDataLst>
            </p:nvPr>
          </p:nvGrpSpPr>
          <p:grpSpPr bwMode="auto">
            <a:xfrm>
              <a:off x="5511798" y="3584333"/>
              <a:ext cx="4818106" cy="2816468"/>
              <a:chOff x="-6346822" y="2366960"/>
              <a:chExt cx="5613397" cy="3281360"/>
            </a:xfrm>
          </p:grpSpPr>
          <p:grpSp>
            <p:nvGrpSpPr>
              <p:cNvPr id="49"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grpSp>
        <p:grpSp>
          <p:nvGrpSpPr>
            <p:cNvPr id="16" name="Group 21"/>
            <p:cNvGrpSpPr>
              <a:grpSpLocks/>
            </p:cNvGrpSpPr>
            <p:nvPr userDrawn="1">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grpSp>
      </p:grpSp>
      <p:sp>
        <p:nvSpPr>
          <p:cNvPr id="344" name="Rectangle 9"/>
          <p:cNvSpPr>
            <a:spLocks noChangeArrowheads="1"/>
          </p:cNvSpPr>
          <p:nvPr userDrawn="1">
            <p:custDataLst>
              <p:tags r:id="rId15"/>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a:t>
            </a:r>
            <a:r>
              <a:rPr lang="en-US" sz="1000" dirty="0" smtClean="0">
                <a:solidFill>
                  <a:schemeClr val="bg1"/>
                </a:solidFill>
              </a:rPr>
              <a:t>180,000 people </a:t>
            </a:r>
            <a:r>
              <a:rPr lang="en-US" sz="1000" dirty="0">
                <a:solidFill>
                  <a:schemeClr val="bg1"/>
                </a:solidFill>
              </a:rPr>
              <a:t>in </a:t>
            </a:r>
            <a:r>
              <a:rPr lang="en-US" sz="1000" dirty="0" smtClean="0">
                <a:solidFill>
                  <a:schemeClr val="bg1"/>
                </a:solidFill>
              </a:rPr>
              <a:t>44 </a:t>
            </a:r>
            <a:r>
              <a:rPr lang="en-US" sz="1000" dirty="0">
                <a:solidFill>
                  <a:schemeClr val="bg1"/>
                </a:solidFill>
              </a:rPr>
              <a:t>countries, Capgemini is one of the world's foremost providers of consulting, technology and outsourcing services. The Group reported </a:t>
            </a:r>
            <a:r>
              <a:rPr lang="en-US" sz="1000" dirty="0" smtClean="0">
                <a:solidFill>
                  <a:schemeClr val="bg1"/>
                </a:solidFill>
              </a:rPr>
              <a:t>2014 </a:t>
            </a:r>
            <a:r>
              <a:rPr lang="en-US" sz="1000" dirty="0">
                <a:solidFill>
                  <a:schemeClr val="bg1"/>
                </a:solidFill>
              </a:rPr>
              <a:t>global revenues of EUR </a:t>
            </a:r>
            <a:r>
              <a:rPr lang="en-US" sz="1000" dirty="0" smtClean="0">
                <a:solidFill>
                  <a:schemeClr val="bg1"/>
                </a:solidFill>
              </a:rPr>
              <a:t>10.1 </a:t>
            </a:r>
            <a:r>
              <a:rPr lang="en-US" sz="1000" dirty="0">
                <a:solidFill>
                  <a:schemeClr val="bg1"/>
                </a:solidFill>
              </a:rPr>
              <a:t>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345" name="Image 337" descr="CBE_Label_ppt.png"/>
          <p:cNvPicPr>
            <a:picLocks noChangeAspect="1"/>
          </p:cNvPicPr>
          <p:nvPr userDrawn="1"/>
        </p:nvPicPr>
        <p:blipFill>
          <a:blip r:embed="rId34" cstate="print"/>
          <a:srcRect/>
          <a:stretch>
            <a:fillRect/>
          </a:stretch>
        </p:blipFill>
        <p:spPr bwMode="auto">
          <a:xfrm>
            <a:off x="868363" y="3468688"/>
            <a:ext cx="519112" cy="522287"/>
          </a:xfrm>
          <a:prstGeom prst="rect">
            <a:avLst/>
          </a:prstGeom>
          <a:noFill/>
          <a:ln w="9525">
            <a:noFill/>
            <a:miter lim="800000"/>
            <a:headEnd/>
            <a:tailEnd/>
          </a:ln>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288" name="think-cell Slide" r:id="rId16" imgW="360" imgH="360" progId="">
                  <p:embed/>
                </p:oleObj>
              </mc:Choice>
              <mc:Fallback>
                <p:oleObj name="think-cell Slide" r:id="rId16" imgW="360" imgH="360" progId="">
                  <p:embed/>
                  <p:pic>
                    <p:nvPicPr>
                      <p:cNvPr id="0" name="Picture 36"/>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8"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9"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0"/>
          </p:cNvPr>
          <p:cNvPicPr>
            <a:picLocks noChangeAspect="1" noChangeArrowheads="1"/>
          </p:cNvPicPr>
          <p:nvPr>
            <p:custDataLst>
              <p:tags r:id="rId8"/>
            </p:custDataLst>
          </p:nvPr>
        </p:nvPicPr>
        <p:blipFill>
          <a:blip r:embed="rId21"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2"/>
          </p:cNvPr>
          <p:cNvPicPr>
            <a:picLocks noChangeAspect="1" noChangeArrowheads="1"/>
          </p:cNvPicPr>
          <p:nvPr>
            <p:custDataLst>
              <p:tags r:id="rId9"/>
            </p:custDataLst>
          </p:nvPr>
        </p:nvPicPr>
        <p:blipFill>
          <a:blip r:embed="rId23"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4"/>
          </p:cNvPr>
          <p:cNvPicPr>
            <a:picLocks noChangeAspect="1" noChangeArrowheads="1"/>
          </p:cNvPicPr>
          <p:nvPr>
            <p:custDataLst>
              <p:tags r:id="rId10"/>
            </p:custDataLst>
          </p:nvPr>
        </p:nvPicPr>
        <p:blipFill>
          <a:blip r:embed="rId25"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6"/>
          </p:cNvPr>
          <p:cNvPicPr>
            <a:picLocks noChangeAspect="1" noChangeArrowheads="1"/>
          </p:cNvPicPr>
          <p:nvPr>
            <p:custDataLst>
              <p:tags r:id="rId11"/>
            </p:custDataLst>
          </p:nvPr>
        </p:nvPicPr>
        <p:blipFill>
          <a:blip r:embed="rId27"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28"/>
          </p:cNvPr>
          <p:cNvPicPr preferRelativeResize="0">
            <a:picLocks/>
          </p:cNvPicPr>
          <p:nvPr>
            <p:custDataLst>
              <p:tags r:id="rId12"/>
            </p:custDataLst>
          </p:nvPr>
        </p:nvPicPr>
        <p:blipFill>
          <a:blip r:embed="rId29"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2289" name="think-cell Slide" r:id="rId30" imgW="360" imgH="360" progId="">
                  <p:embed/>
                </p:oleObj>
              </mc:Choice>
              <mc:Fallback>
                <p:oleObj name="think-cell Slide" r:id="rId30" imgW="360" imgH="360" progId="">
                  <p:embed/>
                  <p:pic>
                    <p:nvPicPr>
                      <p:cNvPr id="0" name="Picture 37"/>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9"/>
          <p:cNvSpPr>
            <a:spLocks noChangeArrowheads="1"/>
          </p:cNvSpPr>
          <p:nvPr userDrawn="1">
            <p:custDataLst>
              <p:tags r:id="rId14"/>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120,000 people in 40 countries, Capgemini is one of the world's foremost providers of consulting, technology and outsourcing services. The Group reported 2011 global revenues of EUR 9.7 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15" name="Image 6" descr="CBE_Label_ppt.png"/>
          <p:cNvPicPr>
            <a:picLocks noChangeAspect="1"/>
          </p:cNvPicPr>
          <p:nvPr userDrawn="1"/>
        </p:nvPicPr>
        <p:blipFill>
          <a:blip r:embed="rId31" cstate="print"/>
          <a:srcRect/>
          <a:stretch>
            <a:fillRect/>
          </a:stretch>
        </p:blipFill>
        <p:spPr bwMode="auto">
          <a:xfrm>
            <a:off x="5035550" y="2790825"/>
            <a:ext cx="520700" cy="523875"/>
          </a:xfrm>
          <a:prstGeom prst="rect">
            <a:avLst/>
          </a:prstGeom>
          <a:noFill/>
          <a:ln w="9525">
            <a:noFill/>
            <a:miter lim="800000"/>
            <a:headEnd/>
            <a:tailEnd/>
          </a:ln>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312" name="think-cell Slide" r:id="rId15" imgW="360" imgH="360" progId="">
                  <p:embed/>
                </p:oleObj>
              </mc:Choice>
              <mc:Fallback>
                <p:oleObj name="think-cell Slide" r:id="rId15" imgW="360" imgH="360" progId="">
                  <p:embed/>
                  <p:pic>
                    <p:nvPicPr>
                      <p:cNvPr id="0" name="Picture 36"/>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7"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8"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19"/>
          </p:cNvPr>
          <p:cNvPicPr>
            <a:picLocks noChangeAspect="1" noChangeArrowheads="1"/>
          </p:cNvPicPr>
          <p:nvPr>
            <p:custDataLst>
              <p:tags r:id="rId8"/>
            </p:custDataLst>
          </p:nvPr>
        </p:nvPicPr>
        <p:blipFill>
          <a:blip r:embed="rId20"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1"/>
          </p:cNvPr>
          <p:cNvPicPr>
            <a:picLocks noChangeAspect="1" noChangeArrowheads="1"/>
          </p:cNvPicPr>
          <p:nvPr>
            <p:custDataLst>
              <p:tags r:id="rId9"/>
            </p:custDataLst>
          </p:nvPr>
        </p:nvPicPr>
        <p:blipFill>
          <a:blip r:embed="rId22"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3"/>
          </p:cNvPr>
          <p:cNvPicPr>
            <a:picLocks noChangeAspect="1" noChangeArrowheads="1"/>
          </p:cNvPicPr>
          <p:nvPr>
            <p:custDataLst>
              <p:tags r:id="rId10"/>
            </p:custDataLst>
          </p:nvPr>
        </p:nvPicPr>
        <p:blipFill>
          <a:blip r:embed="rId24"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5"/>
          </p:cNvPr>
          <p:cNvPicPr>
            <a:picLocks noChangeAspect="1" noChangeArrowheads="1"/>
          </p:cNvPicPr>
          <p:nvPr>
            <p:custDataLst>
              <p:tags r:id="rId11"/>
            </p:custDataLst>
          </p:nvPr>
        </p:nvPicPr>
        <p:blipFill>
          <a:blip r:embed="rId26"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27"/>
          </p:cNvPr>
          <p:cNvPicPr preferRelativeResize="0">
            <a:picLocks/>
          </p:cNvPicPr>
          <p:nvPr>
            <p:custDataLst>
              <p:tags r:id="rId12"/>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313" name="think-cell Slide" r:id="rId29" imgW="360" imgH="360" progId="">
                  <p:embed/>
                </p:oleObj>
              </mc:Choice>
              <mc:Fallback>
                <p:oleObj name="think-cell Slide" r:id="rId29" imgW="360" imgH="360" progId="">
                  <p:embed/>
                  <p:pic>
                    <p:nvPicPr>
                      <p:cNvPr id="0" name="Picture 3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ction Break 1">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336" name="think-cell Slide" r:id="rId6" imgW="360" imgH="360" progId="">
                  <p:embed/>
                </p:oleObj>
              </mc:Choice>
              <mc:Fallback>
                <p:oleObj name="think-cell Slide" r:id="rId6" imgW="360" imgH="360" progId="">
                  <p:embed/>
                  <p:pic>
                    <p:nvPicPr>
                      <p:cNvPr id="0" name="Picture 3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LF_People.jpg"/>
          <p:cNvPicPr>
            <a:picLocks noChangeAspect="1"/>
          </p:cNvPicPr>
          <p:nvPr userDrawn="1"/>
        </p:nvPicPr>
        <p:blipFill>
          <a:blip r:embed="rId8" cstate="print"/>
          <a:srcRect/>
          <a:stretch>
            <a:fillRect/>
          </a:stretch>
        </p:blipFill>
        <p:spPr bwMode="auto">
          <a:xfrm>
            <a:off x="0" y="0"/>
            <a:ext cx="9906000" cy="660082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337" name="think-cell Slide" r:id="rId9" imgW="360" imgH="360" progId="">
                  <p:embed/>
                </p:oleObj>
              </mc:Choice>
              <mc:Fallback>
                <p:oleObj name="think-cell Slide" r:id="rId9" imgW="360" imgH="360" progId="">
                  <p:embed/>
                  <p:pic>
                    <p:nvPicPr>
                      <p:cNvPr id="0" name="Picture 3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4"/>
            </p:custDataLst>
          </p:nvPr>
        </p:nvSpPr>
        <p:spPr bwMode="auto">
          <a:xfrm flipV="1">
            <a:off x="-1588" y="3384550"/>
            <a:ext cx="9907588"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2" name="Titre 1"/>
          <p:cNvSpPr>
            <a:spLocks noGrp="1"/>
          </p:cNvSpPr>
          <p:nvPr>
            <p:ph type="title"/>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ction Break 2">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60" name="think-cell Slide" r:id="rId6" imgW="360" imgH="360" progId="">
                  <p:embed/>
                </p:oleObj>
              </mc:Choice>
              <mc:Fallback>
                <p:oleObj name="think-cell Slide" r:id="rId6" imgW="360" imgH="360" progId="">
                  <p:embed/>
                  <p:pic>
                    <p:nvPicPr>
                      <p:cNvPr id="0" name="Picture 3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test5.jpg"/>
          <p:cNvPicPr>
            <a:picLocks noChangeAspect="1"/>
          </p:cNvPicPr>
          <p:nvPr userDrawn="1"/>
        </p:nvPicPr>
        <p:blipFill>
          <a:blip r:embed="rId8" cstate="print"/>
          <a:srcRect l="240" t="179" r="380" b="511"/>
          <a:stretch>
            <a:fillRect/>
          </a:stretch>
        </p:blipFill>
        <p:spPr bwMode="auto">
          <a:xfrm>
            <a:off x="0" y="1050925"/>
            <a:ext cx="9906000" cy="580707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61" name="think-cell Slide" r:id="rId9" imgW="360" imgH="360" progId="">
                  <p:embed/>
                </p:oleObj>
              </mc:Choice>
              <mc:Fallback>
                <p:oleObj name="think-cell Slide" r:id="rId9" imgW="360" imgH="360" progId="">
                  <p:embed/>
                  <p:pic>
                    <p:nvPicPr>
                      <p:cNvPr id="0" name="Picture 3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4"/>
            </p:custDataLst>
          </p:nvPr>
        </p:nvSpPr>
        <p:spPr bwMode="auto">
          <a:xfrm>
            <a:off x="-1588" y="0"/>
            <a:ext cx="9907588"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2" name="Titre 1"/>
          <p:cNvSpPr>
            <a:spLocks noGrp="1"/>
          </p:cNvSpPr>
          <p:nvPr>
            <p:ph type="title"/>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cstate="print"/>
          <a:srcRect l="240" t="24" r="259" b="533"/>
          <a:stretch>
            <a:fillRect/>
          </a:stretch>
        </p:blipFill>
        <p:spPr bwMode="auto">
          <a:xfrm>
            <a:off x="0" y="1323975"/>
            <a:ext cx="9906000" cy="5534025"/>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solidFill>
                <a:prstClr val="white"/>
              </a:solidFill>
            </a:endParaRPr>
          </a:p>
        </p:txBody>
      </p:sp>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prstClr val="white"/>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289"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569075" y="6521450"/>
            <a:ext cx="300196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userDrawn="1">
            <p:custDataLst>
              <p:tags r:id="rId6"/>
            </p:custDataLst>
          </p:nvPr>
        </p:nvPicPr>
        <p:blipFill>
          <a:blip r:embed="rId12" cstate="print"/>
          <a:srcRect/>
          <a:stretch>
            <a:fillRect/>
          </a:stretch>
        </p:blipFill>
        <p:spPr bwMode="auto">
          <a:xfrm>
            <a:off x="715963" y="652463"/>
            <a:ext cx="3001962" cy="695325"/>
          </a:xfrm>
          <a:prstGeom prst="rect">
            <a:avLst/>
          </a:prstGeom>
          <a:noFill/>
          <a:ln w="9525">
            <a:noFill/>
            <a:miter lim="800000"/>
            <a:headEnd/>
            <a:tailEnd/>
          </a:ln>
        </p:spPr>
      </p:pic>
      <p:sp>
        <p:nvSpPr>
          <p:cNvPr id="2" name="Title 1"/>
          <p:cNvSpPr>
            <a:spLocks noGrp="1"/>
          </p:cNvSpPr>
          <p:nvPr>
            <p:ph type="ctrTitle"/>
          </p:nvPr>
        </p:nvSpPr>
        <p:spPr>
          <a:xfrm>
            <a:off x="0" y="2256613"/>
            <a:ext cx="4540683"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cstate="print"/>
          <a:srcRect l="240" t="179" r="380" b="511"/>
          <a:stretch>
            <a:fillRect/>
          </a:stretch>
        </p:blipFill>
        <p:spPr bwMode="auto">
          <a:xfrm>
            <a:off x="0" y="1050925"/>
            <a:ext cx="9906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7313"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prstClr val="white"/>
              </a:solidFill>
              <a:latin typeface="Aria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cstate="print"/>
          <a:srcRect/>
          <a:stretch>
            <a:fillRect/>
          </a:stretch>
        </p:blipFill>
        <p:spPr bwMode="auto">
          <a:xfrm>
            <a:off x="715963" y="652463"/>
            <a:ext cx="3001962" cy="695325"/>
          </a:xfrm>
          <a:prstGeom prst="rect">
            <a:avLst/>
          </a:prstGeom>
          <a:noFill/>
          <a:ln w="9525">
            <a:noFill/>
            <a:miter lim="800000"/>
            <a:headEnd/>
            <a:tailEnd/>
          </a:ln>
        </p:spPr>
      </p:pic>
      <p:sp>
        <p:nvSpPr>
          <p:cNvPr id="8" name="Rectangle 7"/>
          <p:cNvSpPr/>
          <p:nvPr userDrawn="1">
            <p:custDataLst>
              <p:tags r:id="rId5"/>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cstate="print"/>
          <a:srcRect/>
          <a:stretch>
            <a:fillRect/>
          </a:stretch>
        </p:blipFill>
        <p:spPr bwMode="auto">
          <a:xfrm>
            <a:off x="6569075" y="6521450"/>
            <a:ext cx="3001963" cy="238125"/>
          </a:xfrm>
          <a:prstGeom prst="rect">
            <a:avLst/>
          </a:prstGeom>
          <a:noFill/>
          <a:ln w="9525">
            <a:noFill/>
            <a:miter lim="800000"/>
            <a:headEnd/>
            <a:tailEnd/>
          </a:ln>
        </p:spPr>
      </p:pic>
      <p:sp>
        <p:nvSpPr>
          <p:cNvPr id="16" name="Title 1"/>
          <p:cNvSpPr>
            <a:spLocks noGrp="1"/>
          </p:cNvSpPr>
          <p:nvPr>
            <p:ph type="title"/>
          </p:nvPr>
        </p:nvSpPr>
        <p:spPr>
          <a:xfrm>
            <a:off x="4490752" y="1968816"/>
            <a:ext cx="5415248"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5336953" y="4609876"/>
            <a:ext cx="4569047"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cstate="print"/>
          <a:srcRect l="240" t="179" r="380" b="511"/>
          <a:stretch>
            <a:fillRect/>
          </a:stretch>
        </p:blipFill>
        <p:spPr bwMode="auto">
          <a:xfrm>
            <a:off x="0" y="1050925"/>
            <a:ext cx="9906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41"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cstate="print"/>
          <a:srcRect/>
          <a:stretch>
            <a:fillRect/>
          </a:stretch>
        </p:blipFill>
        <p:spPr bwMode="auto">
          <a:xfrm>
            <a:off x="715963" y="652463"/>
            <a:ext cx="3001962" cy="695325"/>
          </a:xfrm>
          <a:prstGeom prst="rect">
            <a:avLst/>
          </a:prstGeom>
          <a:noFill/>
          <a:ln w="9525">
            <a:noFill/>
            <a:miter lim="800000"/>
            <a:headEnd/>
            <a:tailEnd/>
          </a:ln>
        </p:spPr>
      </p:pic>
      <p:sp>
        <p:nvSpPr>
          <p:cNvPr id="8" name="Rectangle 7"/>
          <p:cNvSpPr/>
          <p:nvPr userDrawn="1">
            <p:custDataLst>
              <p:tags r:id="rId5"/>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9" name="Picture 104" descr="C:\Users\UserSim\Desktop\Capgemini\moto.emf"/>
          <p:cNvPicPr>
            <a:picLocks noChangeAspect="1" noChangeArrowheads="1"/>
          </p:cNvPicPr>
          <p:nvPr userDrawn="1">
            <p:custDataLst>
              <p:tags r:id="rId6"/>
            </p:custDataLst>
          </p:nvPr>
        </p:nvPicPr>
        <p:blipFill>
          <a:blip r:embed="rId12" cstate="print"/>
          <a:srcRect/>
          <a:stretch>
            <a:fillRect/>
          </a:stretch>
        </p:blipFill>
        <p:spPr bwMode="auto">
          <a:xfrm>
            <a:off x="6569075" y="6521450"/>
            <a:ext cx="3001963" cy="238125"/>
          </a:xfrm>
          <a:prstGeom prst="rect">
            <a:avLst/>
          </a:prstGeom>
          <a:noFill/>
          <a:ln w="9525">
            <a:noFill/>
            <a:miter lim="800000"/>
            <a:headEnd/>
            <a:tailEnd/>
          </a:ln>
        </p:spPr>
      </p:pic>
      <p:sp>
        <p:nvSpPr>
          <p:cNvPr id="16" name="Title 1"/>
          <p:cNvSpPr>
            <a:spLocks noGrp="1"/>
          </p:cNvSpPr>
          <p:nvPr>
            <p:ph type="title"/>
          </p:nvPr>
        </p:nvSpPr>
        <p:spPr>
          <a:xfrm>
            <a:off x="4490752" y="1968816"/>
            <a:ext cx="5415248"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5336953" y="4609876"/>
            <a:ext cx="4569047"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8368" name="think-cell Slide" r:id="rId12" imgW="360" imgH="360" progId="">
                  <p:embed/>
                </p:oleObj>
              </mc:Choice>
              <mc:Fallback>
                <p:oleObj name="think-cell Slide" r:id="rId12" imgW="360" imgH="360" progId="">
                  <p:embed/>
                  <p:pic>
                    <p:nvPicPr>
                      <p:cNvPr id="0" name="Picture 3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94669688-E8AB-4927-BB5E-83C34F0659BB}"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8" name="Rectangle 7"/>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9" name="Rectangle 8"/>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58750" y="6443663"/>
            <a:ext cx="1311275"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cstate="print"/>
          <a:srcRect l="121" t="188" r="380" b="565"/>
          <a:stretch>
            <a:fillRect/>
          </a:stretch>
        </p:blipFill>
        <p:spPr bwMode="auto">
          <a:xfrm>
            <a:off x="0" y="0"/>
            <a:ext cx="9906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8369" name="think-cell Slide" r:id="rId16" imgW="360" imgH="360" progId="">
                  <p:embed/>
                </p:oleObj>
              </mc:Choice>
              <mc:Fallback>
                <p:oleObj name="think-cell Slide" r:id="rId16" imgW="360" imgH="360" progId="">
                  <p:embed/>
                  <p:pic>
                    <p:nvPicPr>
                      <p:cNvPr id="0" name="Picture 3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10"/>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solidFill>
                <a:srgbClr val="263147"/>
              </a:solidFill>
              <a:latin typeface="Arial"/>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323487" y="1501977"/>
            <a:ext cx="6807651" cy="2950251"/>
          </a:xfrm>
        </p:spPr>
        <p:txBody>
          <a:bodyPr/>
          <a:lstStyle/>
          <a:p>
            <a:pPr lvl="0"/>
            <a:r>
              <a:rPr lang="en-US" noProof="0" smtClean="0"/>
              <a:t>Click to edit Master text styles</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392"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7CFE6CD5-D86D-4B6D-9526-3B7B91C085B9}"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6"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7" name="Rectangle 6"/>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a:t>
            </a:r>
            <a:r>
              <a:rPr lang="en-US" altLang="en-US" sz="700" dirty="0" smtClean="0">
                <a:solidFill>
                  <a:srgbClr val="998C85"/>
                </a:solidFill>
                <a:latin typeface="Arial"/>
                <a:cs typeface="Helvetica Light"/>
              </a:rPr>
              <a:t>2016. </a:t>
            </a:r>
            <a:r>
              <a:rPr lang="en-US" altLang="en-US" sz="700" dirty="0">
                <a:solidFill>
                  <a:srgbClr val="998C85"/>
                </a:solidFill>
                <a:latin typeface="Arial"/>
                <a:cs typeface="Helvetica Light"/>
              </a:rPr>
              <a:t>All Rights Reserved</a:t>
            </a:r>
          </a:p>
        </p:txBody>
      </p:sp>
      <p:sp>
        <p:nvSpPr>
          <p:cNvPr id="8" name="Rectangle 7"/>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smtClean="0">
                <a:solidFill>
                  <a:srgbClr val="998C85"/>
                </a:solidFill>
                <a:latin typeface="Arial"/>
              </a:rPr>
              <a:t>Oracle Solution Template| Jan 2016</a:t>
            </a:r>
            <a:endParaRPr lang="en-US" sz="700" dirty="0">
              <a:solidFill>
                <a:srgbClr val="998C85"/>
              </a:solidFill>
              <a:latin typeface="Arial"/>
            </a:endParaRPr>
          </a:p>
        </p:txBody>
      </p:sp>
      <p:pic>
        <p:nvPicPr>
          <p:cNvPr id="9"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0"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9"/>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99393"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1494765"/>
            <a:ext cx="9582608"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0416"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6A9DB0BF-434B-4703-AD07-FCD532FE33E4}"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00417"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323487" y="1495447"/>
            <a:ext cx="9598643" cy="643612"/>
          </a:xfrm>
        </p:spPr>
        <p:txBody>
          <a:bodyPr/>
          <a:lstStyle>
            <a:lvl1pPr marL="0" indent="0">
              <a:buNone/>
              <a:defRPr b="1">
                <a:solidFill>
                  <a:schemeClr val="accent2"/>
                </a:solidFill>
              </a:defRPr>
            </a:lvl1pPr>
          </a:lstStyle>
          <a:p>
            <a:pPr lvl="0"/>
            <a:r>
              <a:rPr lang="en-US" smtClean="0"/>
              <a:t>Click to edit Master text styles</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1440"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EC9B41CE-B61E-418D-AE14-357CA0183CBE}"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8"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1441"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1533439"/>
            <a:ext cx="4502138"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1533440"/>
            <a:ext cx="4502138"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64"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46489BB4-1E61-4616-844D-69F699DA8A99}"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11"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12" name="Rectangle 11"/>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3" name="Rectangle 12"/>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65"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488"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D74D315E-A235-44EE-BFC2-C4D6D65C0C41}"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5"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7" name="Rectangle 6"/>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489"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04481"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96" name="think-cell Slide" r:id="rId12" imgW="360" imgH="360" progId="">
                  <p:embed/>
                </p:oleObj>
              </mc:Choice>
              <mc:Fallback>
                <p:oleObj name="think-cell Slide" r:id="rId12" imgW="360" imgH="360" progId="">
                  <p:embed/>
                  <p:pic>
                    <p:nvPicPr>
                      <p:cNvPr id="0" name="Picture 3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94669688-E8AB-4927-BB5E-83C34F0659BB}"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8" name="Rectangle 7"/>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9" name="Rectangle 8"/>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58750" y="6443663"/>
            <a:ext cx="1311275"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cstate="print"/>
          <a:srcRect l="121" t="188" r="380" b="565"/>
          <a:stretch>
            <a:fillRect/>
          </a:stretch>
        </p:blipFill>
        <p:spPr bwMode="auto">
          <a:xfrm>
            <a:off x="0" y="0"/>
            <a:ext cx="9906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97" name="think-cell Slide" r:id="rId16" imgW="360" imgH="360" progId="">
                  <p:embed/>
                </p:oleObj>
              </mc:Choice>
              <mc:Fallback>
                <p:oleObj name="think-cell Slide" r:id="rId16" imgW="360" imgH="360" progId="">
                  <p:embed/>
                  <p:pic>
                    <p:nvPicPr>
                      <p:cNvPr id="0" name="Picture 3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10"/>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323487" y="1501977"/>
            <a:ext cx="6807651" cy="2950251"/>
          </a:xfrm>
        </p:spPr>
        <p:txBody>
          <a:bodyPr/>
          <a:lstStyle/>
          <a:p>
            <a:pPr lvl="0"/>
            <a:r>
              <a:rPr lang="en-US" noProof="0"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120" name="think-cell Slide" r:id="rId10" imgW="360" imgH="360" progId="">
                  <p:embed/>
                </p:oleObj>
              </mc:Choice>
              <mc:Fallback>
                <p:oleObj name="think-cell Slide" r:id="rId10" imgW="360" imgH="360" progId="">
                  <p:embed/>
                  <p:pic>
                    <p:nvPicPr>
                      <p:cNvPr id="0" name="Picture 3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7CFE6CD5-D86D-4B6D-9526-3B7B91C085B9}"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6"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7" name="Rectangle 6"/>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a:t>
            </a:r>
            <a:r>
              <a:rPr lang="en-US" altLang="en-US" sz="700" dirty="0" smtClean="0">
                <a:solidFill>
                  <a:schemeClr val="tx2"/>
                </a:solidFill>
                <a:latin typeface="+mj-lt"/>
                <a:cs typeface="Helvetica Light"/>
              </a:rPr>
              <a:t>2017. </a:t>
            </a:r>
            <a:r>
              <a:rPr lang="en-US" altLang="en-US" sz="700" dirty="0">
                <a:solidFill>
                  <a:schemeClr val="tx2"/>
                </a:solidFill>
                <a:latin typeface="+mj-lt"/>
                <a:cs typeface="Helvetica Light"/>
              </a:rPr>
              <a:t>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58750" y="6443663"/>
            <a:ext cx="1311275"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8"/>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45121" name="think-cell Slide" r:id="rId13" imgW="360" imgH="360" progId="">
                  <p:embed/>
                </p:oleObj>
              </mc:Choice>
              <mc:Fallback>
                <p:oleObj name="think-cell Slide" r:id="rId13" imgW="360" imgH="360" progId="">
                  <p:embed/>
                  <p:pic>
                    <p:nvPicPr>
                      <p:cNvPr id="0" name="Picture 3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1494765"/>
            <a:ext cx="9582608"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144"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6A9DB0BF-434B-4703-AD07-FCD532FE33E4}"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46145"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323487" y="1495447"/>
            <a:ext cx="9598643" cy="643612"/>
          </a:xfrm>
        </p:spPr>
        <p:txBody>
          <a:bodyPr/>
          <a:lstStyle>
            <a:lvl1pPr marL="0" indent="0">
              <a:buNone/>
              <a:defRPr b="1">
                <a:solidFill>
                  <a:schemeClr val="accent2"/>
                </a:solidFill>
              </a:defRPr>
            </a:lvl1pPr>
          </a:lstStyle>
          <a:p>
            <a:pPr lvl="0"/>
            <a:r>
              <a:rPr lang="en-US" smtClean="0"/>
              <a:t>Click to edit Master text styles</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68"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EC9B41CE-B61E-418D-AE14-357CA0183CBE}"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8"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69"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1533439"/>
            <a:ext cx="4502138"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1533440"/>
            <a:ext cx="4502138"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92"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46489BB4-1E61-4616-844D-69F699DA8A99}"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11"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12" name="Rectangle 11"/>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3" name="Rectangle 12"/>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93"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216"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D74D315E-A235-44EE-BFC2-C4D6D65C0C41}"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5"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7" name="Rectangle 6"/>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217"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5.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tags" Target="../tags/tag10.xml"/><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95.xml"/><Relationship Id="rId13" Type="http://schemas.openxmlformats.org/officeDocument/2006/relationships/tags" Target="../tags/tag100.xml"/><Relationship Id="rId18" Type="http://schemas.openxmlformats.org/officeDocument/2006/relationships/image" Target="../media/image1.emf"/><Relationship Id="rId26" Type="http://schemas.openxmlformats.org/officeDocument/2006/relationships/image" Target="../media/image12.png"/><Relationship Id="rId3" Type="http://schemas.openxmlformats.org/officeDocument/2006/relationships/slideLayout" Target="../slideLayouts/slideLayout15.xml"/><Relationship Id="rId21" Type="http://schemas.openxmlformats.org/officeDocument/2006/relationships/hyperlink" Target="http://www.facebook.com/Capgemini" TargetMode="External"/><Relationship Id="rId7" Type="http://schemas.openxmlformats.org/officeDocument/2006/relationships/tags" Target="../tags/tag94.xml"/><Relationship Id="rId12" Type="http://schemas.openxmlformats.org/officeDocument/2006/relationships/tags" Target="../tags/tag99.xml"/><Relationship Id="rId17" Type="http://schemas.openxmlformats.org/officeDocument/2006/relationships/oleObject" Target="../embeddings/oleObject21.bin"/><Relationship Id="rId25" Type="http://schemas.openxmlformats.org/officeDocument/2006/relationships/hyperlink" Target="http://www.twitter.com/capgemini" TargetMode="External"/><Relationship Id="rId2" Type="http://schemas.openxmlformats.org/officeDocument/2006/relationships/slideLayout" Target="../slideLayouts/slideLayout14.xml"/><Relationship Id="rId16" Type="http://schemas.openxmlformats.org/officeDocument/2006/relationships/tags" Target="../tags/tag103.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3.xml"/><Relationship Id="rId6" Type="http://schemas.openxmlformats.org/officeDocument/2006/relationships/tags" Target="../tags/tag93.xml"/><Relationship Id="rId11" Type="http://schemas.openxmlformats.org/officeDocument/2006/relationships/tags" Target="../tags/tag98.xml"/><Relationship Id="rId24" Type="http://schemas.openxmlformats.org/officeDocument/2006/relationships/image" Target="../media/image11.png"/><Relationship Id="rId5" Type="http://schemas.openxmlformats.org/officeDocument/2006/relationships/vmlDrawing" Target="../drawings/vmlDrawing13.vml"/><Relationship Id="rId15" Type="http://schemas.openxmlformats.org/officeDocument/2006/relationships/tags" Target="../tags/tag102.xml"/><Relationship Id="rId23" Type="http://schemas.openxmlformats.org/officeDocument/2006/relationships/hyperlink" Target="http://www.linkedin.com/company/capgemini" TargetMode="External"/><Relationship Id="rId28" Type="http://schemas.openxmlformats.org/officeDocument/2006/relationships/image" Target="../media/image13.png"/><Relationship Id="rId10" Type="http://schemas.openxmlformats.org/officeDocument/2006/relationships/tags" Target="../tags/tag97.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96.xml"/><Relationship Id="rId14" Type="http://schemas.openxmlformats.org/officeDocument/2006/relationships/tags" Target="../tags/tag101.xml"/><Relationship Id="rId22" Type="http://schemas.openxmlformats.org/officeDocument/2006/relationships/image" Target="../media/image10.png"/><Relationship Id="rId27" Type="http://schemas.openxmlformats.org/officeDocument/2006/relationships/hyperlink" Target="http://www.youtube.com/capgemini" TargetMode="External"/><Relationship Id="rId30" Type="http://schemas.openxmlformats.org/officeDocument/2006/relationships/image" Target="../media/image14.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28.bin"/><Relationship Id="rId5" Type="http://schemas.openxmlformats.org/officeDocument/2006/relationships/tags" Target="../tags/tag145.xml"/><Relationship Id="rId4" Type="http://schemas.openxmlformats.org/officeDocument/2006/relationships/vmlDrawing" Target="../drawings/vmlDrawing17.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ags" Target="../tags/tag152.xml"/><Relationship Id="rId18" Type="http://schemas.openxmlformats.org/officeDocument/2006/relationships/tags" Target="../tags/tag157.xml"/><Relationship Id="rId3" Type="http://schemas.openxmlformats.org/officeDocument/2006/relationships/slideLayout" Target="../slideLayouts/slideLayout20.xml"/><Relationship Id="rId21" Type="http://schemas.openxmlformats.org/officeDocument/2006/relationships/tags" Target="../tags/tag160.xml"/><Relationship Id="rId7" Type="http://schemas.openxmlformats.org/officeDocument/2006/relationships/slideLayout" Target="../slideLayouts/slideLayout24.xml"/><Relationship Id="rId12" Type="http://schemas.openxmlformats.org/officeDocument/2006/relationships/vmlDrawing" Target="../drawings/vmlDrawing20.vml"/><Relationship Id="rId17" Type="http://schemas.openxmlformats.org/officeDocument/2006/relationships/tags" Target="../tags/tag156.xml"/><Relationship Id="rId2" Type="http://schemas.openxmlformats.org/officeDocument/2006/relationships/slideLayout" Target="../slideLayouts/slideLayout19.xml"/><Relationship Id="rId16" Type="http://schemas.openxmlformats.org/officeDocument/2006/relationships/tags" Target="../tags/tag155.xml"/><Relationship Id="rId20" Type="http://schemas.openxmlformats.org/officeDocument/2006/relationships/tags" Target="../tags/tag15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theme" Target="../theme/theme4.xml"/><Relationship Id="rId24" Type="http://schemas.openxmlformats.org/officeDocument/2006/relationships/image" Target="../media/image2.png"/><Relationship Id="rId5" Type="http://schemas.openxmlformats.org/officeDocument/2006/relationships/slideLayout" Target="../slideLayouts/slideLayout22.xml"/><Relationship Id="rId15" Type="http://schemas.openxmlformats.org/officeDocument/2006/relationships/tags" Target="../tags/tag154.xml"/><Relationship Id="rId23" Type="http://schemas.openxmlformats.org/officeDocument/2006/relationships/image" Target="../media/image1.emf"/><Relationship Id="rId10" Type="http://schemas.openxmlformats.org/officeDocument/2006/relationships/slideLayout" Target="../slideLayouts/slideLayout27.xml"/><Relationship Id="rId19" Type="http://schemas.openxmlformats.org/officeDocument/2006/relationships/tags" Target="../tags/tag158.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ags" Target="../tags/tag153.xml"/><Relationship Id="rId22" Type="http://schemas.openxmlformats.org/officeDocument/2006/relationships/oleObject" Target="../embeddings/oleObject3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7" name="think-cell Slide" r:id="rId24" imgW="360" imgH="360" progId="">
                  <p:embed/>
                </p:oleObj>
              </mc:Choice>
              <mc:Fallback>
                <p:oleObj name="think-cell Slide" r:id="rId24" imgW="360" imgH="360" progId="">
                  <p:embed/>
                  <p:pic>
                    <p:nvPicPr>
                      <p:cNvPr id="0" name="Picture 19"/>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6"/>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7"/>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8"/>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B0B74838-110A-4A92-A773-35AEE2E6BF12}"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9" name="Freeform 4"/>
          <p:cNvSpPr>
            <a:spLocks/>
          </p:cNvSpPr>
          <p:nvPr>
            <p:custDataLst>
              <p:tags r:id="rId19"/>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12" name="Rectangle 11"/>
          <p:cNvSpPr>
            <a:spLocks noChangeArrowheads="1"/>
          </p:cNvSpPr>
          <p:nvPr>
            <p:custDataLst>
              <p:tags r:id="rId20"/>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3" name="Rectangle 12"/>
          <p:cNvSpPr/>
          <p:nvPr>
            <p:custDataLst>
              <p:tags r:id="rId21"/>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034" name="Picture 103" descr="C:\Users\UserSim\Desktop\Capgemini\Capgemini_logo_cmyk.png"/>
          <p:cNvPicPr>
            <a:picLocks noChangeAspect="1" noChangeArrowheads="1"/>
          </p:cNvPicPr>
          <p:nvPr>
            <p:custDataLst>
              <p:tags r:id="rId22"/>
            </p:custDataLst>
          </p:nvPr>
        </p:nvPicPr>
        <p:blipFill>
          <a:blip r:embed="rId26"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23"/>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83" r:id="rId8"/>
    <p:sldLayoutId id="2147483991" r:id="rId9"/>
    <p:sldLayoutId id="2147483992" r:id="rId10"/>
    <p:sldLayoutId id="2147484009" r:id="rId11"/>
    <p:sldLayoutId id="2147484010" r:id="rId12"/>
  </p:sldLayoutIdLst>
  <p:timing>
    <p:tnLst>
      <p:par>
        <p:cTn id="1" dur="indefinite" restart="never" nodeType="tmRoot"/>
      </p:par>
    </p:tnLst>
  </p:timing>
  <p:txStyles>
    <p:titleStyle>
      <a:lvl1pPr algn="l" defTabSz="912813" rtl="0" eaLnBrk="1" fontAlgn="base" hangingPunct="1">
        <a:lnSpc>
          <a:spcPct val="85000"/>
        </a:lnSpc>
        <a:spcBef>
          <a:spcPct val="0"/>
        </a:spcBef>
        <a:spcAft>
          <a:spcPct val="0"/>
        </a:spcAft>
        <a:defRPr sz="3200" kern="1200">
          <a:solidFill>
            <a:schemeClr val="tx1"/>
          </a:solidFill>
          <a:latin typeface="+mj-lt"/>
          <a:ea typeface="+mj-ea"/>
          <a:cs typeface="+mj-cs"/>
        </a:defRPr>
      </a:lvl1pPr>
      <a:lvl2pPr algn="l" defTabSz="912813" rtl="0" eaLnBrk="1" fontAlgn="base" hangingPunct="1">
        <a:lnSpc>
          <a:spcPct val="85000"/>
        </a:lnSpc>
        <a:spcBef>
          <a:spcPct val="0"/>
        </a:spcBef>
        <a:spcAft>
          <a:spcPct val="0"/>
        </a:spcAft>
        <a:defRPr sz="3200">
          <a:solidFill>
            <a:schemeClr val="tx1"/>
          </a:solidFill>
          <a:latin typeface="Arial" pitchFamily="34" charset="0"/>
        </a:defRPr>
      </a:lvl2pPr>
      <a:lvl3pPr algn="l" defTabSz="912813" rtl="0" eaLnBrk="1" fontAlgn="base" hangingPunct="1">
        <a:lnSpc>
          <a:spcPct val="85000"/>
        </a:lnSpc>
        <a:spcBef>
          <a:spcPct val="0"/>
        </a:spcBef>
        <a:spcAft>
          <a:spcPct val="0"/>
        </a:spcAft>
        <a:defRPr sz="3200">
          <a:solidFill>
            <a:schemeClr val="tx1"/>
          </a:solidFill>
          <a:latin typeface="Arial" pitchFamily="34" charset="0"/>
        </a:defRPr>
      </a:lvl3pPr>
      <a:lvl4pPr algn="l" defTabSz="912813" rtl="0" eaLnBrk="1" fontAlgn="base" hangingPunct="1">
        <a:lnSpc>
          <a:spcPct val="85000"/>
        </a:lnSpc>
        <a:spcBef>
          <a:spcPct val="0"/>
        </a:spcBef>
        <a:spcAft>
          <a:spcPct val="0"/>
        </a:spcAft>
        <a:defRPr sz="3200">
          <a:solidFill>
            <a:schemeClr val="tx1"/>
          </a:solidFill>
          <a:latin typeface="Arial" pitchFamily="34" charset="0"/>
        </a:defRPr>
      </a:lvl4pPr>
      <a:lvl5pPr algn="l" defTabSz="912813" rtl="0" eaLnBrk="1" fontAlgn="base" hangingPunct="1">
        <a:lnSpc>
          <a:spcPct val="85000"/>
        </a:lnSpc>
        <a:spcBef>
          <a:spcPct val="0"/>
        </a:spcBef>
        <a:spcAft>
          <a:spcPct val="0"/>
        </a:spcAft>
        <a:defRPr sz="3200">
          <a:solidFill>
            <a:schemeClr val="tx1"/>
          </a:solidFill>
          <a:latin typeface="Arial" pitchFamily="34" charset="0"/>
        </a:defRPr>
      </a:lvl5pPr>
      <a:lvl6pPr marL="457200" algn="l" defTabSz="912813" rtl="0" eaLnBrk="1" fontAlgn="base" hangingPunct="1">
        <a:lnSpc>
          <a:spcPct val="85000"/>
        </a:lnSpc>
        <a:spcBef>
          <a:spcPct val="0"/>
        </a:spcBef>
        <a:spcAft>
          <a:spcPct val="0"/>
        </a:spcAft>
        <a:defRPr sz="3200">
          <a:solidFill>
            <a:schemeClr val="tx1"/>
          </a:solidFill>
          <a:latin typeface="Arial" pitchFamily="34" charset="0"/>
        </a:defRPr>
      </a:lvl6pPr>
      <a:lvl7pPr marL="914400" algn="l" defTabSz="912813" rtl="0" eaLnBrk="1" fontAlgn="base" hangingPunct="1">
        <a:lnSpc>
          <a:spcPct val="85000"/>
        </a:lnSpc>
        <a:spcBef>
          <a:spcPct val="0"/>
        </a:spcBef>
        <a:spcAft>
          <a:spcPct val="0"/>
        </a:spcAft>
        <a:defRPr sz="3200">
          <a:solidFill>
            <a:schemeClr val="tx1"/>
          </a:solidFill>
          <a:latin typeface="Arial" pitchFamily="34" charset="0"/>
        </a:defRPr>
      </a:lvl7pPr>
      <a:lvl8pPr marL="1371600" algn="l" defTabSz="912813" rtl="0" eaLnBrk="1" fontAlgn="base" hangingPunct="1">
        <a:lnSpc>
          <a:spcPct val="85000"/>
        </a:lnSpc>
        <a:spcBef>
          <a:spcPct val="0"/>
        </a:spcBef>
        <a:spcAft>
          <a:spcPct val="0"/>
        </a:spcAft>
        <a:defRPr sz="3200">
          <a:solidFill>
            <a:schemeClr val="tx1"/>
          </a:solidFill>
          <a:latin typeface="Arial" pitchFamily="34" charset="0"/>
        </a:defRPr>
      </a:lvl8pPr>
      <a:lvl9pPr marL="1828800" algn="l" defTabSz="912813" rtl="0" eaLnBrk="1" fontAlgn="base" hangingPunct="1">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266" name="Object 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97" name="think-cell Slide" r:id="rId17" imgW="360" imgH="360" progId="">
                  <p:embed/>
                </p:oleObj>
              </mc:Choice>
              <mc:Fallback>
                <p:oleObj name="think-cell Slide" r:id="rId17" imgW="360" imgH="360" progId="">
                  <p:embed/>
                  <p:pic>
                    <p:nvPicPr>
                      <p:cNvPr id="0" name="Picture 19"/>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11269" name="Image 10" descr="Capgemini_logo_lr.tif"/>
          <p:cNvPicPr>
            <a:picLocks noChangeAspect="1"/>
          </p:cNvPicPr>
          <p:nvPr>
            <p:custDataLst>
              <p:tags r:id="rId8"/>
            </p:custDataLst>
          </p:nvPr>
        </p:nvPicPr>
        <p:blipFill>
          <a:blip r:embed="rId19" cstate="print"/>
          <a:srcRect/>
          <a:stretch>
            <a:fillRect/>
          </a:stretch>
        </p:blipFill>
        <p:spPr bwMode="auto">
          <a:xfrm>
            <a:off x="690563" y="930275"/>
            <a:ext cx="3154362" cy="776288"/>
          </a:xfrm>
          <a:prstGeom prst="rect">
            <a:avLst/>
          </a:prstGeom>
          <a:noFill/>
          <a:ln w="9525">
            <a:noFill/>
            <a:miter lim="800000"/>
            <a:headEnd/>
            <a:tailEnd/>
          </a:ln>
        </p:spPr>
      </p:pic>
      <p:pic>
        <p:nvPicPr>
          <p:cNvPr id="11270" name="Picture 104" descr="C:\Users\UserSim\Desktop\Capgemini\moto.emf"/>
          <p:cNvPicPr>
            <a:picLocks noChangeAspect="1" noChangeArrowheads="1"/>
          </p:cNvPicPr>
          <p:nvPr>
            <p:custDataLst>
              <p:tags r:id="rId9"/>
            </p:custDataLst>
          </p:nvPr>
        </p:nvPicPr>
        <p:blipFill>
          <a:blip r:embed="rId20" cstate="print"/>
          <a:srcRect/>
          <a:stretch>
            <a:fillRect/>
          </a:stretch>
        </p:blipFill>
        <p:spPr bwMode="auto">
          <a:xfrm>
            <a:off x="5491163" y="1173163"/>
            <a:ext cx="3646487" cy="290512"/>
          </a:xfrm>
          <a:prstGeom prst="rect">
            <a:avLst/>
          </a:prstGeom>
          <a:noFill/>
          <a:ln w="9525">
            <a:noFill/>
            <a:miter lim="800000"/>
            <a:headEnd/>
            <a:tailEnd/>
          </a:ln>
        </p:spPr>
      </p:pic>
      <p:sp>
        <p:nvSpPr>
          <p:cNvPr id="13" name="Rectangle 12"/>
          <p:cNvSpPr/>
          <p:nvPr>
            <p:custDataLst>
              <p:tags r:id="rId10"/>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15" name="Rectangle 14"/>
          <p:cNvSpPr/>
          <p:nvPr>
            <p:custDataLst>
              <p:tags r:id="rId11"/>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11273" name="Picture 3" descr="C:\Users\UserSim\Desktop\DS_icons\128x128 shadows\facebook.png">
            <a:hlinkClick r:id="rId21"/>
          </p:cNvPr>
          <p:cNvPicPr>
            <a:picLocks noChangeAspect="1" noChangeArrowheads="1"/>
          </p:cNvPicPr>
          <p:nvPr>
            <p:custDataLst>
              <p:tags r:id="rId12"/>
            </p:custDataLst>
          </p:nvPr>
        </p:nvPicPr>
        <p:blipFill>
          <a:blip r:embed="rId22" cstate="print"/>
          <a:srcRect/>
          <a:stretch>
            <a:fillRect/>
          </a:stretch>
        </p:blipFill>
        <p:spPr bwMode="auto">
          <a:xfrm>
            <a:off x="7939088" y="5932488"/>
            <a:ext cx="277812" cy="263525"/>
          </a:xfrm>
          <a:prstGeom prst="rect">
            <a:avLst/>
          </a:prstGeom>
          <a:noFill/>
          <a:ln w="9525">
            <a:noFill/>
            <a:miter lim="800000"/>
            <a:headEnd/>
            <a:tailEnd/>
          </a:ln>
        </p:spPr>
      </p:pic>
      <p:pic>
        <p:nvPicPr>
          <p:cNvPr id="11274" name="Picture 4" descr="C:\Users\UserSim\Desktop\DS_icons\128x128 shadows\linkedin.png">
            <a:hlinkClick r:id="rId23"/>
          </p:cNvPr>
          <p:cNvPicPr>
            <a:picLocks noChangeAspect="1" noChangeArrowheads="1"/>
          </p:cNvPicPr>
          <p:nvPr>
            <p:custDataLst>
              <p:tags r:id="rId13"/>
            </p:custDataLst>
          </p:nvPr>
        </p:nvPicPr>
        <p:blipFill>
          <a:blip r:embed="rId24" cstate="print"/>
          <a:srcRect/>
          <a:stretch>
            <a:fillRect/>
          </a:stretch>
        </p:blipFill>
        <p:spPr bwMode="auto">
          <a:xfrm>
            <a:off x="8274050" y="5932488"/>
            <a:ext cx="282575" cy="266700"/>
          </a:xfrm>
          <a:prstGeom prst="rect">
            <a:avLst/>
          </a:prstGeom>
          <a:noFill/>
          <a:ln w="9525">
            <a:noFill/>
            <a:miter lim="800000"/>
            <a:headEnd/>
            <a:tailEnd/>
          </a:ln>
        </p:spPr>
      </p:pic>
      <p:pic>
        <p:nvPicPr>
          <p:cNvPr id="11275" name="Picture 5" descr="C:\Users\UserSim\Desktop\DS_icons\128x128 shadows\twitter.png">
            <a:hlinkClick r:id="rId25"/>
          </p:cNvPr>
          <p:cNvPicPr>
            <a:picLocks noChangeAspect="1" noChangeArrowheads="1"/>
          </p:cNvPicPr>
          <p:nvPr>
            <p:custDataLst>
              <p:tags r:id="rId14"/>
            </p:custDataLst>
          </p:nvPr>
        </p:nvPicPr>
        <p:blipFill>
          <a:blip r:embed="rId26" cstate="print"/>
          <a:srcRect/>
          <a:stretch>
            <a:fillRect/>
          </a:stretch>
        </p:blipFill>
        <p:spPr bwMode="auto">
          <a:xfrm>
            <a:off x="8904288" y="5932488"/>
            <a:ext cx="280987" cy="266700"/>
          </a:xfrm>
          <a:prstGeom prst="rect">
            <a:avLst/>
          </a:prstGeom>
          <a:noFill/>
          <a:ln w="9525">
            <a:noFill/>
            <a:miter lim="800000"/>
            <a:headEnd/>
            <a:tailEnd/>
          </a:ln>
        </p:spPr>
      </p:pic>
      <p:pic>
        <p:nvPicPr>
          <p:cNvPr id="11276" name="Picture 6" descr="C:\Users\UserSim\Desktop\DS_icons\128x128 shadows\youtube.png">
            <a:hlinkClick r:id="rId27"/>
          </p:cNvPr>
          <p:cNvPicPr>
            <a:picLocks noChangeAspect="1" noChangeArrowheads="1"/>
          </p:cNvPicPr>
          <p:nvPr>
            <p:custDataLst>
              <p:tags r:id="rId15"/>
            </p:custDataLst>
          </p:nvPr>
        </p:nvPicPr>
        <p:blipFill>
          <a:blip r:embed="rId28" cstate="print"/>
          <a:srcRect/>
          <a:stretch>
            <a:fillRect/>
          </a:stretch>
        </p:blipFill>
        <p:spPr bwMode="auto">
          <a:xfrm>
            <a:off x="9242425" y="5932488"/>
            <a:ext cx="280988" cy="266700"/>
          </a:xfrm>
          <a:prstGeom prst="rect">
            <a:avLst/>
          </a:prstGeom>
          <a:noFill/>
          <a:ln w="9525">
            <a:noFill/>
            <a:miter lim="800000"/>
            <a:headEnd/>
            <a:tailEnd/>
          </a:ln>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Lst>
  <p:txStyles>
    <p:titleStyle>
      <a:lvl1pPr algn="ctr" defTabSz="838200" rtl="0" fontAlgn="base">
        <a:spcBef>
          <a:spcPct val="0"/>
        </a:spcBef>
        <a:spcAft>
          <a:spcPct val="0"/>
        </a:spcAft>
        <a:defRPr sz="4000" kern="1200">
          <a:solidFill>
            <a:schemeClr val="tx1"/>
          </a:solidFill>
          <a:latin typeface="+mj-lt"/>
          <a:ea typeface="+mj-ea"/>
          <a:cs typeface="+mj-cs"/>
        </a:defRPr>
      </a:lvl1pPr>
      <a:lvl2pPr algn="ctr" defTabSz="838200" rtl="0" fontAlgn="base">
        <a:spcBef>
          <a:spcPct val="0"/>
        </a:spcBef>
        <a:spcAft>
          <a:spcPct val="0"/>
        </a:spcAft>
        <a:defRPr sz="4000">
          <a:solidFill>
            <a:schemeClr val="tx1"/>
          </a:solidFill>
          <a:latin typeface="Calibri" pitchFamily="34" charset="0"/>
        </a:defRPr>
      </a:lvl2pPr>
      <a:lvl3pPr algn="ctr" defTabSz="838200" rtl="0" fontAlgn="base">
        <a:spcBef>
          <a:spcPct val="0"/>
        </a:spcBef>
        <a:spcAft>
          <a:spcPct val="0"/>
        </a:spcAft>
        <a:defRPr sz="4000">
          <a:solidFill>
            <a:schemeClr val="tx1"/>
          </a:solidFill>
          <a:latin typeface="Calibri" pitchFamily="34" charset="0"/>
        </a:defRPr>
      </a:lvl3pPr>
      <a:lvl4pPr algn="ctr" defTabSz="838200" rtl="0" fontAlgn="base">
        <a:spcBef>
          <a:spcPct val="0"/>
        </a:spcBef>
        <a:spcAft>
          <a:spcPct val="0"/>
        </a:spcAft>
        <a:defRPr sz="4000">
          <a:solidFill>
            <a:schemeClr val="tx1"/>
          </a:solidFill>
          <a:latin typeface="Calibri" pitchFamily="34" charset="0"/>
        </a:defRPr>
      </a:lvl4pPr>
      <a:lvl5pPr algn="ctr" defTabSz="838200" rtl="0" fontAlgn="base">
        <a:spcBef>
          <a:spcPct val="0"/>
        </a:spcBef>
        <a:spcAft>
          <a:spcPct val="0"/>
        </a:spcAft>
        <a:defRPr sz="4000">
          <a:solidFill>
            <a:schemeClr val="tx1"/>
          </a:solidFill>
          <a:latin typeface="Calibri" pitchFamily="34" charset="0"/>
        </a:defRPr>
      </a:lvl5pPr>
      <a:lvl6pPr marL="457200" algn="ctr" defTabSz="838200" rtl="0" fontAlgn="base">
        <a:spcBef>
          <a:spcPct val="0"/>
        </a:spcBef>
        <a:spcAft>
          <a:spcPct val="0"/>
        </a:spcAft>
        <a:defRPr sz="4000">
          <a:solidFill>
            <a:schemeClr val="tx1"/>
          </a:solidFill>
          <a:latin typeface="Calibri" pitchFamily="34" charset="0"/>
        </a:defRPr>
      </a:lvl6pPr>
      <a:lvl7pPr marL="914400" algn="ctr" defTabSz="838200" rtl="0" fontAlgn="base">
        <a:spcBef>
          <a:spcPct val="0"/>
        </a:spcBef>
        <a:spcAft>
          <a:spcPct val="0"/>
        </a:spcAft>
        <a:defRPr sz="4000">
          <a:solidFill>
            <a:schemeClr val="tx1"/>
          </a:solidFill>
          <a:latin typeface="Calibri" pitchFamily="34" charset="0"/>
        </a:defRPr>
      </a:lvl7pPr>
      <a:lvl8pPr marL="1371600" algn="ctr" defTabSz="838200" rtl="0" fontAlgn="base">
        <a:spcBef>
          <a:spcPct val="0"/>
        </a:spcBef>
        <a:spcAft>
          <a:spcPct val="0"/>
        </a:spcAft>
        <a:defRPr sz="4000">
          <a:solidFill>
            <a:schemeClr val="tx1"/>
          </a:solidFill>
          <a:latin typeface="Calibri" pitchFamily="34" charset="0"/>
        </a:defRPr>
      </a:lvl8pPr>
      <a:lvl9pPr marL="1828800" algn="ctr" defTabSz="838200" rtl="0" fontAlgn="base">
        <a:spcBef>
          <a:spcPct val="0"/>
        </a:spcBef>
        <a:spcAft>
          <a:spcPct val="0"/>
        </a:spcAft>
        <a:defRPr sz="4000">
          <a:solidFill>
            <a:schemeClr val="tx1"/>
          </a:solidFill>
          <a:latin typeface="Calibri" pitchFamily="34" charset="0"/>
        </a:defRPr>
      </a:lvl9pPr>
    </p:titleStyle>
    <p:bodyStyle>
      <a:lvl1pPr marL="314325" indent="-314325" algn="l" defTabSz="838200" rtl="0" fontAlgn="base">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fontAlgn="base">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fontAlgn="base">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36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93" name="think-cell Slide" r:id="rId6" imgW="360" imgH="360" progId="">
                  <p:embed/>
                </p:oleObj>
              </mc:Choice>
              <mc:Fallback>
                <p:oleObj name="think-cell Slide" r:id="rId6" imgW="360" imgH="360" progId="">
                  <p:embed/>
                  <p:pic>
                    <p:nvPicPr>
                      <p:cNvPr id="0" name="Picture 1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96" r:id="rId1"/>
    <p:sldLayoutId id="2147483997" r:id="rId2"/>
  </p:sldLayoutIdLst>
  <p:txStyles>
    <p:titleStyle>
      <a:lvl1pPr algn="ctr" defTabSz="838200" rtl="0" fontAlgn="base">
        <a:spcBef>
          <a:spcPct val="0"/>
        </a:spcBef>
        <a:spcAft>
          <a:spcPct val="0"/>
        </a:spcAft>
        <a:defRPr sz="4000" kern="1200">
          <a:solidFill>
            <a:schemeClr val="tx1"/>
          </a:solidFill>
          <a:latin typeface="+mj-lt"/>
          <a:ea typeface="+mj-ea"/>
          <a:cs typeface="+mj-cs"/>
        </a:defRPr>
      </a:lvl1pPr>
      <a:lvl2pPr algn="ctr" defTabSz="838200" rtl="0" fontAlgn="base">
        <a:spcBef>
          <a:spcPct val="0"/>
        </a:spcBef>
        <a:spcAft>
          <a:spcPct val="0"/>
        </a:spcAft>
        <a:defRPr sz="4000">
          <a:solidFill>
            <a:schemeClr val="tx1"/>
          </a:solidFill>
          <a:latin typeface="Calibri" pitchFamily="34" charset="0"/>
        </a:defRPr>
      </a:lvl2pPr>
      <a:lvl3pPr algn="ctr" defTabSz="838200" rtl="0" fontAlgn="base">
        <a:spcBef>
          <a:spcPct val="0"/>
        </a:spcBef>
        <a:spcAft>
          <a:spcPct val="0"/>
        </a:spcAft>
        <a:defRPr sz="4000">
          <a:solidFill>
            <a:schemeClr val="tx1"/>
          </a:solidFill>
          <a:latin typeface="Calibri" pitchFamily="34" charset="0"/>
        </a:defRPr>
      </a:lvl3pPr>
      <a:lvl4pPr algn="ctr" defTabSz="838200" rtl="0" fontAlgn="base">
        <a:spcBef>
          <a:spcPct val="0"/>
        </a:spcBef>
        <a:spcAft>
          <a:spcPct val="0"/>
        </a:spcAft>
        <a:defRPr sz="4000">
          <a:solidFill>
            <a:schemeClr val="tx1"/>
          </a:solidFill>
          <a:latin typeface="Calibri" pitchFamily="34" charset="0"/>
        </a:defRPr>
      </a:lvl4pPr>
      <a:lvl5pPr algn="ctr" defTabSz="838200" rtl="0" fontAlgn="base">
        <a:spcBef>
          <a:spcPct val="0"/>
        </a:spcBef>
        <a:spcAft>
          <a:spcPct val="0"/>
        </a:spcAft>
        <a:defRPr sz="4000">
          <a:solidFill>
            <a:schemeClr val="tx1"/>
          </a:solidFill>
          <a:latin typeface="Calibri" pitchFamily="34" charset="0"/>
        </a:defRPr>
      </a:lvl5pPr>
      <a:lvl6pPr marL="457200" algn="ctr" defTabSz="838200" rtl="0" fontAlgn="base">
        <a:spcBef>
          <a:spcPct val="0"/>
        </a:spcBef>
        <a:spcAft>
          <a:spcPct val="0"/>
        </a:spcAft>
        <a:defRPr sz="4000">
          <a:solidFill>
            <a:schemeClr val="tx1"/>
          </a:solidFill>
          <a:latin typeface="Calibri" pitchFamily="34" charset="0"/>
        </a:defRPr>
      </a:lvl6pPr>
      <a:lvl7pPr marL="914400" algn="ctr" defTabSz="838200" rtl="0" fontAlgn="base">
        <a:spcBef>
          <a:spcPct val="0"/>
        </a:spcBef>
        <a:spcAft>
          <a:spcPct val="0"/>
        </a:spcAft>
        <a:defRPr sz="4000">
          <a:solidFill>
            <a:schemeClr val="tx1"/>
          </a:solidFill>
          <a:latin typeface="Calibri" pitchFamily="34" charset="0"/>
        </a:defRPr>
      </a:lvl7pPr>
      <a:lvl8pPr marL="1371600" algn="ctr" defTabSz="838200" rtl="0" fontAlgn="base">
        <a:spcBef>
          <a:spcPct val="0"/>
        </a:spcBef>
        <a:spcAft>
          <a:spcPct val="0"/>
        </a:spcAft>
        <a:defRPr sz="4000">
          <a:solidFill>
            <a:schemeClr val="tx1"/>
          </a:solidFill>
          <a:latin typeface="Calibri" pitchFamily="34" charset="0"/>
        </a:defRPr>
      </a:lvl8pPr>
      <a:lvl9pPr marL="1828800" algn="ctr" defTabSz="838200" rtl="0" fontAlgn="base">
        <a:spcBef>
          <a:spcPct val="0"/>
        </a:spcBef>
        <a:spcAft>
          <a:spcPct val="0"/>
        </a:spcAft>
        <a:defRPr sz="4000">
          <a:solidFill>
            <a:schemeClr val="tx1"/>
          </a:solidFill>
          <a:latin typeface="Calibri" pitchFamily="34" charset="0"/>
        </a:defRPr>
      </a:lvl9pPr>
    </p:titleStyle>
    <p:bodyStyle>
      <a:lvl1pPr marL="314325" indent="-314325" algn="l" defTabSz="838200" rtl="0" fontAlgn="base">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fontAlgn="base">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fontAlgn="base">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5265" name="think-cell Slide" r:id="rId22" imgW="360" imgH="360" progId="">
                  <p:embed/>
                </p:oleObj>
              </mc:Choice>
              <mc:Fallback>
                <p:oleObj name="think-cell Slide" r:id="rId22" imgW="360" imgH="360" progId="">
                  <p:embed/>
                  <p:pic>
                    <p:nvPicPr>
                      <p:cNvPr id="0" name="Picture 19"/>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4"/>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5"/>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6"/>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B0B74838-110A-4A92-A773-35AEE2E6BF12}"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9" name="Freeform 4"/>
          <p:cNvSpPr>
            <a:spLocks/>
          </p:cNvSpPr>
          <p:nvPr>
            <p:custDataLst>
              <p:tags r:id="rId17"/>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12" name="Rectangle 11"/>
          <p:cNvSpPr>
            <a:spLocks noChangeArrowheads="1"/>
          </p:cNvSpPr>
          <p:nvPr>
            <p:custDataLst>
              <p:tags r:id="rId18"/>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3" name="Rectangle 12"/>
          <p:cNvSpPr/>
          <p:nvPr>
            <p:custDataLst>
              <p:tags r:id="rId19"/>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034" name="Picture 103" descr="C:\Users\UserSim\Desktop\Capgemini\Capgemini_logo_cmyk.png"/>
          <p:cNvPicPr>
            <a:picLocks noChangeAspect="1" noChangeArrowheads="1"/>
          </p:cNvPicPr>
          <p:nvPr>
            <p:custDataLst>
              <p:tags r:id="rId20"/>
            </p:custDataLst>
          </p:nvPr>
        </p:nvPicPr>
        <p:blipFill>
          <a:blip r:embed="rId24"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21"/>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Lst>
  <p:timing>
    <p:tnLst>
      <p:par>
        <p:cTn id="1" dur="indefinite" restart="never" nodeType="tmRoot"/>
      </p:par>
    </p:tnLst>
  </p:timing>
  <p:txStyles>
    <p:titleStyle>
      <a:lvl1pPr algn="l" defTabSz="912813" rtl="0" eaLnBrk="1" fontAlgn="base" hangingPunct="1">
        <a:lnSpc>
          <a:spcPct val="85000"/>
        </a:lnSpc>
        <a:spcBef>
          <a:spcPct val="0"/>
        </a:spcBef>
        <a:spcAft>
          <a:spcPct val="0"/>
        </a:spcAft>
        <a:defRPr sz="3200" kern="1200">
          <a:solidFill>
            <a:schemeClr val="tx1"/>
          </a:solidFill>
          <a:latin typeface="+mj-lt"/>
          <a:ea typeface="+mj-ea"/>
          <a:cs typeface="+mj-cs"/>
        </a:defRPr>
      </a:lvl1pPr>
      <a:lvl2pPr algn="l" defTabSz="912813" rtl="0" eaLnBrk="1" fontAlgn="base" hangingPunct="1">
        <a:lnSpc>
          <a:spcPct val="85000"/>
        </a:lnSpc>
        <a:spcBef>
          <a:spcPct val="0"/>
        </a:spcBef>
        <a:spcAft>
          <a:spcPct val="0"/>
        </a:spcAft>
        <a:defRPr sz="3200">
          <a:solidFill>
            <a:schemeClr val="tx1"/>
          </a:solidFill>
          <a:latin typeface="Arial" pitchFamily="34" charset="0"/>
        </a:defRPr>
      </a:lvl2pPr>
      <a:lvl3pPr algn="l" defTabSz="912813" rtl="0" eaLnBrk="1" fontAlgn="base" hangingPunct="1">
        <a:lnSpc>
          <a:spcPct val="85000"/>
        </a:lnSpc>
        <a:spcBef>
          <a:spcPct val="0"/>
        </a:spcBef>
        <a:spcAft>
          <a:spcPct val="0"/>
        </a:spcAft>
        <a:defRPr sz="3200">
          <a:solidFill>
            <a:schemeClr val="tx1"/>
          </a:solidFill>
          <a:latin typeface="Arial" pitchFamily="34" charset="0"/>
        </a:defRPr>
      </a:lvl3pPr>
      <a:lvl4pPr algn="l" defTabSz="912813" rtl="0" eaLnBrk="1" fontAlgn="base" hangingPunct="1">
        <a:lnSpc>
          <a:spcPct val="85000"/>
        </a:lnSpc>
        <a:spcBef>
          <a:spcPct val="0"/>
        </a:spcBef>
        <a:spcAft>
          <a:spcPct val="0"/>
        </a:spcAft>
        <a:defRPr sz="3200">
          <a:solidFill>
            <a:schemeClr val="tx1"/>
          </a:solidFill>
          <a:latin typeface="Arial" pitchFamily="34" charset="0"/>
        </a:defRPr>
      </a:lvl4pPr>
      <a:lvl5pPr algn="l" defTabSz="912813" rtl="0" eaLnBrk="1" fontAlgn="base" hangingPunct="1">
        <a:lnSpc>
          <a:spcPct val="85000"/>
        </a:lnSpc>
        <a:spcBef>
          <a:spcPct val="0"/>
        </a:spcBef>
        <a:spcAft>
          <a:spcPct val="0"/>
        </a:spcAft>
        <a:defRPr sz="3200">
          <a:solidFill>
            <a:schemeClr val="tx1"/>
          </a:solidFill>
          <a:latin typeface="Arial" pitchFamily="34" charset="0"/>
        </a:defRPr>
      </a:lvl5pPr>
      <a:lvl6pPr marL="457200" algn="l" defTabSz="912813" rtl="0" eaLnBrk="1" fontAlgn="base" hangingPunct="1">
        <a:lnSpc>
          <a:spcPct val="85000"/>
        </a:lnSpc>
        <a:spcBef>
          <a:spcPct val="0"/>
        </a:spcBef>
        <a:spcAft>
          <a:spcPct val="0"/>
        </a:spcAft>
        <a:defRPr sz="3200">
          <a:solidFill>
            <a:schemeClr val="tx1"/>
          </a:solidFill>
          <a:latin typeface="Arial" pitchFamily="34" charset="0"/>
        </a:defRPr>
      </a:lvl6pPr>
      <a:lvl7pPr marL="914400" algn="l" defTabSz="912813" rtl="0" eaLnBrk="1" fontAlgn="base" hangingPunct="1">
        <a:lnSpc>
          <a:spcPct val="85000"/>
        </a:lnSpc>
        <a:spcBef>
          <a:spcPct val="0"/>
        </a:spcBef>
        <a:spcAft>
          <a:spcPct val="0"/>
        </a:spcAft>
        <a:defRPr sz="3200">
          <a:solidFill>
            <a:schemeClr val="tx1"/>
          </a:solidFill>
          <a:latin typeface="Arial" pitchFamily="34" charset="0"/>
        </a:defRPr>
      </a:lvl7pPr>
      <a:lvl8pPr marL="1371600" algn="l" defTabSz="912813" rtl="0" eaLnBrk="1" fontAlgn="base" hangingPunct="1">
        <a:lnSpc>
          <a:spcPct val="85000"/>
        </a:lnSpc>
        <a:spcBef>
          <a:spcPct val="0"/>
        </a:spcBef>
        <a:spcAft>
          <a:spcPct val="0"/>
        </a:spcAft>
        <a:defRPr sz="3200">
          <a:solidFill>
            <a:schemeClr val="tx1"/>
          </a:solidFill>
          <a:latin typeface="Arial" pitchFamily="34" charset="0"/>
        </a:defRPr>
      </a:lvl8pPr>
      <a:lvl9pPr marL="1828800" algn="l" defTabSz="912813" rtl="0" eaLnBrk="1" fontAlgn="base" hangingPunct="1">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22.xml"/><Relationship Id="rId7" Type="http://schemas.openxmlformats.org/officeDocument/2006/relationships/image" Target="../media/image1.emf"/><Relationship Id="rId2" Type="http://schemas.openxmlformats.org/officeDocument/2006/relationships/tags" Target="../tags/tag221.xml"/><Relationship Id="rId1" Type="http://schemas.openxmlformats.org/officeDocument/2006/relationships/vmlDrawing" Target="../drawings/vmlDrawing30.vml"/><Relationship Id="rId6" Type="http://schemas.openxmlformats.org/officeDocument/2006/relationships/oleObject" Target="../embeddings/oleObject49.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225.xml"/><Relationship Id="rId7" Type="http://schemas.openxmlformats.org/officeDocument/2006/relationships/tags" Target="../tags/tag229.xml"/><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tags" Target="../tags/tag228.xml"/><Relationship Id="rId5" Type="http://schemas.openxmlformats.org/officeDocument/2006/relationships/tags" Target="../tags/tag227.xml"/><Relationship Id="rId4" Type="http://schemas.openxmlformats.org/officeDocument/2006/relationships/tags" Target="../tags/tag226.xml"/><Relationship Id="rId9" Type="http://schemas.openxmlformats.org/officeDocument/2006/relationships/image" Target="../media/image17.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37.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50.bin"/></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232.xml"/><Relationship Id="rId7" Type="http://schemas.openxmlformats.org/officeDocument/2006/relationships/tags" Target="../tags/tag236.xml"/><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tags" Target="../tags/tag235.xml"/><Relationship Id="rId5" Type="http://schemas.openxmlformats.org/officeDocument/2006/relationships/tags" Target="../tags/tag234.xml"/><Relationship Id="rId4" Type="http://schemas.openxmlformats.org/officeDocument/2006/relationships/tags" Target="../tags/tag233.xml"/><Relationship Id="rId9" Type="http://schemas.openxmlformats.org/officeDocument/2006/relationships/image" Target="../media/image17.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651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Title 9"/>
          <p:cNvSpPr>
            <a:spLocks noGrp="1"/>
          </p:cNvSpPr>
          <p:nvPr>
            <p:ph type="ctrTitle"/>
            <p:custDataLst>
              <p:tags r:id="rId3"/>
            </p:custDataLst>
          </p:nvPr>
        </p:nvSpPr>
        <p:spPr>
          <a:xfrm>
            <a:off x="23750" y="2247748"/>
            <a:ext cx="5610225" cy="2227262"/>
          </a:xfrm>
        </p:spPr>
        <p:txBody>
          <a:bodyPr/>
          <a:lstStyle/>
          <a:p>
            <a:r>
              <a:rPr lang="en-US" b="1" dirty="0" smtClean="0">
                <a:solidFill>
                  <a:srgbClr val="0085B3"/>
                </a:solidFill>
              </a:rPr>
              <a:t>Advance PL/SQL &amp; </a:t>
            </a:r>
            <a:br>
              <a:rPr lang="en-US" b="1" dirty="0" smtClean="0">
                <a:solidFill>
                  <a:srgbClr val="0085B3"/>
                </a:solidFill>
              </a:rPr>
            </a:br>
            <a:r>
              <a:rPr lang="en-US" b="1" dirty="0" smtClean="0">
                <a:solidFill>
                  <a:srgbClr val="0085B3"/>
                </a:solidFill>
              </a:rPr>
              <a:t>UNIX</a:t>
            </a:r>
            <a:br>
              <a:rPr lang="en-US" b="1" dirty="0" smtClean="0">
                <a:solidFill>
                  <a:srgbClr val="0085B3"/>
                </a:solidFill>
              </a:rPr>
            </a:br>
            <a:endParaRPr lang="en-US" b="1" dirty="0" smtClean="0">
              <a:solidFill>
                <a:srgbClr val="0085B3"/>
              </a:solidFill>
            </a:endParaRPr>
          </a:p>
        </p:txBody>
      </p:sp>
    </p:spTree>
    <p:extLst>
      <p:ext uri="{BB962C8B-B14F-4D97-AF65-F5344CB8AC3E}">
        <p14:creationId xmlns:p14="http://schemas.microsoft.com/office/powerpoint/2010/main" val="1562958201"/>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Content Placeholder 5"/>
          <p:cNvSpPr>
            <a:spLocks noGrp="1"/>
          </p:cNvSpPr>
          <p:nvPr>
            <p:ph idx="4294967295"/>
          </p:nvPr>
        </p:nvSpPr>
        <p:spPr>
          <a:xfrm>
            <a:off x="481013" y="1292225"/>
            <a:ext cx="8662987" cy="4956175"/>
          </a:xfrm>
        </p:spPr>
        <p:txBody>
          <a:bodyPr/>
          <a:lstStyle/>
          <a:p>
            <a:pPr>
              <a:lnSpc>
                <a:spcPct val="90000"/>
              </a:lnSpc>
              <a:buFont typeface="Wingdings" panose="05000000000000000000" pitchFamily="2" charset="2"/>
              <a:buNone/>
            </a:pPr>
            <a:endParaRPr lang="en-GB" altLang="en-US" dirty="0" smtClean="0"/>
          </a:p>
          <a:p>
            <a:pPr lvl="1">
              <a:buFontTx/>
              <a:buNone/>
            </a:pPr>
            <a:r>
              <a:rPr lang="en-GB" altLang="en-US" dirty="0" smtClean="0">
                <a:latin typeface="Courier New" panose="02070309020205020404" pitchFamily="49" charset="0"/>
              </a:rPr>
              <a:t>CREATE [OR REPLACE] PACKAGE BODY &lt;package name&gt; AS</a:t>
            </a:r>
          </a:p>
          <a:p>
            <a:pPr lvl="1">
              <a:buFontTx/>
              <a:buNone/>
            </a:pPr>
            <a:r>
              <a:rPr lang="en-GB" altLang="en-US" dirty="0" smtClean="0">
                <a:latin typeface="Courier New" panose="02070309020205020404" pitchFamily="49" charset="0"/>
              </a:rPr>
              <a:t>    &lt;cursor specifications&gt;</a:t>
            </a:r>
          </a:p>
          <a:p>
            <a:pPr lvl="1">
              <a:buFontTx/>
              <a:buNone/>
            </a:pPr>
            <a:r>
              <a:rPr lang="en-GB" altLang="en-US" dirty="0" smtClean="0">
                <a:latin typeface="Courier New" panose="02070309020205020404" pitchFamily="49" charset="0"/>
              </a:rPr>
              <a:t>    &lt;subprogram specifications and code&gt;</a:t>
            </a:r>
          </a:p>
          <a:p>
            <a:pPr lvl="1">
              <a:buFontTx/>
              <a:buNone/>
            </a:pPr>
            <a:r>
              <a:rPr lang="en-GB" altLang="en-US" dirty="0" smtClean="0">
                <a:latin typeface="Courier New" panose="02070309020205020404" pitchFamily="49" charset="0"/>
              </a:rPr>
              <a:t>END &lt;package name&gt;;</a:t>
            </a:r>
            <a:endParaRPr lang="en-US" altLang="en-US" dirty="0" smtClean="0">
              <a:latin typeface="Courier New" panose="02070309020205020404" pitchFamily="49" charset="0"/>
            </a:endParaRPr>
          </a:p>
          <a:p>
            <a:pPr lvl="1">
              <a:lnSpc>
                <a:spcPct val="80000"/>
              </a:lnSpc>
              <a:buFontTx/>
              <a:buNone/>
            </a:pPr>
            <a:endParaRPr lang="en-GB" altLang="en-US" dirty="0" smtClean="0">
              <a:latin typeface="Courier New" panose="02070309020205020404" pitchFamily="49" charset="0"/>
            </a:endParaRPr>
          </a:p>
          <a:p>
            <a:pPr lvl="1">
              <a:lnSpc>
                <a:spcPct val="80000"/>
              </a:lnSpc>
              <a:buFontTx/>
              <a:buNone/>
            </a:pPr>
            <a:endParaRPr lang="en-GB" altLang="en-US" dirty="0" smtClean="0">
              <a:latin typeface="Courier New" panose="02070309020205020404" pitchFamily="49" charset="0"/>
            </a:endParaRPr>
          </a:p>
          <a:p>
            <a:r>
              <a:rPr lang="en-GB" altLang="en-US" dirty="0" smtClean="0"/>
              <a:t>Any subprograms declared in a package must be coded completely in the package body.  The procedure and function specifications of the package body must match the package declarations including subprogram names, parameter names, and parameter modes.</a:t>
            </a:r>
          </a:p>
          <a:p>
            <a:pPr>
              <a:buFont typeface="Wingdings" panose="05000000000000000000" pitchFamily="2" charset="2"/>
              <a:buNone/>
            </a:pPr>
            <a:endParaRPr lang="en-GB" altLang="en-US" dirty="0" smtClean="0"/>
          </a:p>
          <a:p>
            <a:r>
              <a:rPr lang="en-GB" altLang="en-US" dirty="0" smtClean="0"/>
              <a:t>Contains the code for the subprograms and other constructs, such as exceptions, declared in the package specification. </a:t>
            </a:r>
          </a:p>
          <a:p>
            <a:endParaRPr lang="en-US" altLang="en-US" dirty="0" smtClean="0"/>
          </a:p>
          <a:p>
            <a:pPr lvl="1">
              <a:lnSpc>
                <a:spcPct val="80000"/>
              </a:lnSpc>
              <a:buFontTx/>
              <a:buNone/>
            </a:pPr>
            <a:endParaRPr lang="en-US" altLang="en-US" dirty="0" smtClean="0">
              <a:latin typeface="Courier New" panose="02070309020205020404" pitchFamily="49" charset="0"/>
            </a:endParaRPr>
          </a:p>
          <a:p>
            <a:pPr lvl="1">
              <a:lnSpc>
                <a:spcPct val="80000"/>
              </a:lnSpc>
              <a:buFontTx/>
              <a:buNone/>
            </a:pPr>
            <a:endParaRPr lang="en-US" altLang="en-US" dirty="0" smtClean="0"/>
          </a:p>
          <a:p>
            <a:pPr lvl="1">
              <a:lnSpc>
                <a:spcPct val="80000"/>
              </a:lnSpc>
              <a:buFontTx/>
              <a:buNone/>
            </a:pPr>
            <a:endParaRPr lang="en-US" altLang="en-US" dirty="0" smtClean="0"/>
          </a:p>
        </p:txBody>
      </p:sp>
      <p:sp>
        <p:nvSpPr>
          <p:cNvPr id="70" name="Title 4"/>
          <p:cNvSpPr>
            <a:spLocks noGrp="1"/>
          </p:cNvSpPr>
          <p:nvPr>
            <p:ph type="title" idx="4294967295"/>
          </p:nvPr>
        </p:nvSpPr>
        <p:spPr>
          <a:xfrm>
            <a:off x="609600" y="228600"/>
            <a:ext cx="7564438" cy="669925"/>
          </a:xfrm>
        </p:spPr>
        <p:txBody>
          <a:bodyPr/>
          <a:lstStyle/>
          <a:p>
            <a:pPr eaLnBrk="1" hangingPunct="1"/>
            <a:r>
              <a:rPr altLang="en-US" dirty="0" smtClean="0">
                <a:solidFill>
                  <a:schemeClr val="tx1"/>
                </a:solidFill>
              </a:rPr>
              <a:t>Package Body</a:t>
            </a:r>
          </a:p>
        </p:txBody>
      </p:sp>
    </p:spTree>
    <p:extLst>
      <p:ext uri="{BB962C8B-B14F-4D97-AF65-F5344CB8AC3E}">
        <p14:creationId xmlns:p14="http://schemas.microsoft.com/office/powerpoint/2010/main" val="380482304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Content Placeholder 5"/>
          <p:cNvSpPr>
            <a:spLocks noGrp="1"/>
          </p:cNvSpPr>
          <p:nvPr>
            <p:ph idx="4294967295"/>
          </p:nvPr>
        </p:nvSpPr>
        <p:spPr>
          <a:xfrm>
            <a:off x="731179" y="474662"/>
            <a:ext cx="8662987" cy="4956175"/>
          </a:xfrm>
        </p:spPr>
        <p:txBody>
          <a:bodyPr/>
          <a:lstStyle/>
          <a:p>
            <a:pPr>
              <a:lnSpc>
                <a:spcPct val="90000"/>
              </a:lnSpc>
              <a:buFont typeface="Wingdings" panose="05000000000000000000" pitchFamily="2" charset="2"/>
              <a:buNone/>
            </a:pPr>
            <a:endParaRPr lang="en-GB" altLang="en-US" dirty="0" smtClean="0"/>
          </a:p>
          <a:p>
            <a:endParaRPr lang="en-US" altLang="en-US" dirty="0" smtClean="0"/>
          </a:p>
          <a:p>
            <a:endParaRPr lang="en-US" altLang="en-US" dirty="0" smtClean="0"/>
          </a:p>
          <a:p>
            <a:pPr>
              <a:lnSpc>
                <a:spcPct val="90000"/>
              </a:lnSpc>
            </a:pPr>
            <a:r>
              <a:rPr lang="en-US" altLang="en-US" dirty="0" smtClean="0"/>
              <a:t>Work area in which SQL statement is processed</a:t>
            </a:r>
          </a:p>
          <a:p>
            <a:pPr marL="0" indent="0">
              <a:lnSpc>
                <a:spcPct val="90000"/>
              </a:lnSpc>
              <a:buNone/>
            </a:pPr>
            <a:endParaRPr lang="en-US" altLang="en-US" dirty="0" smtClean="0"/>
          </a:p>
          <a:p>
            <a:pPr>
              <a:lnSpc>
                <a:spcPct val="90000"/>
              </a:lnSpc>
            </a:pPr>
            <a:r>
              <a:rPr lang="en-US" altLang="en-US" dirty="0" smtClean="0"/>
              <a:t>Implicit cursor – declared automatically for DML and SELECT statements</a:t>
            </a:r>
          </a:p>
          <a:p>
            <a:pPr>
              <a:lnSpc>
                <a:spcPct val="90000"/>
              </a:lnSpc>
            </a:pPr>
            <a:endParaRPr lang="en-US" altLang="en-US" dirty="0" smtClean="0"/>
          </a:p>
          <a:p>
            <a:pPr>
              <a:lnSpc>
                <a:spcPct val="90000"/>
              </a:lnSpc>
            </a:pPr>
            <a:r>
              <a:rPr lang="en-US" altLang="en-US" dirty="0" smtClean="0"/>
              <a:t>Explicit cursor – declared and managed programmatically to handle a set of rows returned by a SELECT statement</a:t>
            </a:r>
          </a:p>
          <a:p>
            <a:pPr>
              <a:lnSpc>
                <a:spcPct val="90000"/>
              </a:lnSpc>
            </a:pPr>
            <a:endParaRPr lang="en-US" altLang="en-US" dirty="0" smtClean="0"/>
          </a:p>
          <a:p>
            <a:pPr>
              <a:lnSpc>
                <a:spcPct val="90000"/>
              </a:lnSpc>
            </a:pPr>
            <a:r>
              <a:rPr lang="en-US" altLang="en-US" dirty="0" smtClean="0"/>
              <a:t>Cursor variable – reference or pointer to a work area or cursor</a:t>
            </a:r>
          </a:p>
          <a:p>
            <a:pPr lvl="1">
              <a:lnSpc>
                <a:spcPct val="80000"/>
              </a:lnSpc>
              <a:buFontTx/>
              <a:buNone/>
            </a:pPr>
            <a:endParaRPr lang="en-US" altLang="en-US" dirty="0" smtClean="0">
              <a:latin typeface="Courier New" panose="02070309020205020404" pitchFamily="49" charset="0"/>
            </a:endParaRPr>
          </a:p>
          <a:p>
            <a:pPr lvl="1">
              <a:lnSpc>
                <a:spcPct val="80000"/>
              </a:lnSpc>
              <a:buFontTx/>
              <a:buNone/>
            </a:pPr>
            <a:endParaRPr lang="en-US" altLang="en-US" dirty="0" smtClean="0"/>
          </a:p>
          <a:p>
            <a:pPr lvl="1">
              <a:lnSpc>
                <a:spcPct val="80000"/>
              </a:lnSpc>
              <a:buFontTx/>
              <a:buNone/>
            </a:pPr>
            <a:endParaRPr lang="en-US" altLang="en-US" dirty="0" smtClean="0"/>
          </a:p>
        </p:txBody>
      </p:sp>
      <p:sp>
        <p:nvSpPr>
          <p:cNvPr id="18" name="Title 4"/>
          <p:cNvSpPr>
            <a:spLocks noGrp="1"/>
          </p:cNvSpPr>
          <p:nvPr>
            <p:ph type="title" idx="4294967295"/>
          </p:nvPr>
        </p:nvSpPr>
        <p:spPr>
          <a:xfrm>
            <a:off x="0" y="139700"/>
            <a:ext cx="7564438" cy="669925"/>
          </a:xfrm>
        </p:spPr>
        <p:txBody>
          <a:bodyPr/>
          <a:lstStyle/>
          <a:p>
            <a:pPr eaLnBrk="1" hangingPunct="1"/>
            <a:r>
              <a:rPr altLang="en-US" dirty="0" smtClean="0">
                <a:solidFill>
                  <a:schemeClr val="tx1"/>
                </a:solidFill>
              </a:rPr>
              <a:t>Cursors</a:t>
            </a:r>
          </a:p>
        </p:txBody>
      </p:sp>
    </p:spTree>
    <p:extLst>
      <p:ext uri="{BB962C8B-B14F-4D97-AF65-F5344CB8AC3E}">
        <p14:creationId xmlns:p14="http://schemas.microsoft.com/office/powerpoint/2010/main" val="307946350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p:cNvSpPr>
            <a:spLocks noGrp="1"/>
          </p:cNvSpPr>
          <p:nvPr>
            <p:ph type="title" idx="4294967295"/>
          </p:nvPr>
        </p:nvSpPr>
        <p:spPr>
          <a:xfrm>
            <a:off x="0" y="139700"/>
            <a:ext cx="7564438" cy="669925"/>
          </a:xfrm>
        </p:spPr>
        <p:txBody>
          <a:bodyPr/>
          <a:lstStyle/>
          <a:p>
            <a:pPr eaLnBrk="1" hangingPunct="1"/>
            <a:r>
              <a:rPr altLang="en-US" dirty="0" smtClean="0">
                <a:solidFill>
                  <a:schemeClr val="tx1"/>
                </a:solidFill>
              </a:rPr>
              <a:t>Cursors Attributes</a:t>
            </a:r>
          </a:p>
        </p:txBody>
      </p:sp>
      <p:grpSp>
        <p:nvGrpSpPr>
          <p:cNvPr id="5" name="Group 3"/>
          <p:cNvGrpSpPr>
            <a:grpSpLocks/>
          </p:cNvGrpSpPr>
          <p:nvPr/>
        </p:nvGrpSpPr>
        <p:grpSpPr bwMode="auto">
          <a:xfrm>
            <a:off x="838200" y="1752600"/>
            <a:ext cx="7391400" cy="3352800"/>
            <a:chOff x="-3" y="-3"/>
            <a:chExt cx="3360" cy="1850"/>
          </a:xfrm>
        </p:grpSpPr>
        <p:grpSp>
          <p:nvGrpSpPr>
            <p:cNvPr id="6" name="Group 4"/>
            <p:cNvGrpSpPr>
              <a:grpSpLocks/>
            </p:cNvGrpSpPr>
            <p:nvPr/>
          </p:nvGrpSpPr>
          <p:grpSpPr bwMode="auto">
            <a:xfrm>
              <a:off x="0" y="0"/>
              <a:ext cx="3354" cy="1844"/>
              <a:chOff x="0" y="0"/>
              <a:chExt cx="3354" cy="1844"/>
            </a:xfrm>
          </p:grpSpPr>
          <p:grpSp>
            <p:nvGrpSpPr>
              <p:cNvPr id="8" name="Group 5"/>
              <p:cNvGrpSpPr>
                <a:grpSpLocks/>
              </p:cNvGrpSpPr>
              <p:nvPr/>
            </p:nvGrpSpPr>
            <p:grpSpPr bwMode="auto">
              <a:xfrm>
                <a:off x="0" y="0"/>
                <a:ext cx="806" cy="461"/>
                <a:chOff x="0" y="0"/>
                <a:chExt cx="806" cy="461"/>
              </a:xfrm>
            </p:grpSpPr>
            <p:sp>
              <p:nvSpPr>
                <p:cNvPr id="46" name="Rectangle 6"/>
                <p:cNvSpPr>
                  <a:spLocks noChangeArrowheads="1"/>
                </p:cNvSpPr>
                <p:nvPr/>
              </p:nvSpPr>
              <p:spPr bwMode="auto">
                <a:xfrm>
                  <a:off x="0" y="0"/>
                  <a:ext cx="806" cy="461"/>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nvGrpSpPr>
                <p:cNvPr id="47" name="Group 7"/>
                <p:cNvGrpSpPr>
                  <a:grpSpLocks/>
                </p:cNvGrpSpPr>
                <p:nvPr/>
              </p:nvGrpSpPr>
              <p:grpSpPr bwMode="auto">
                <a:xfrm>
                  <a:off x="0" y="0"/>
                  <a:ext cx="806" cy="461"/>
                  <a:chOff x="0" y="0"/>
                  <a:chExt cx="806" cy="461"/>
                </a:xfrm>
              </p:grpSpPr>
              <p:sp>
                <p:nvSpPr>
                  <p:cNvPr id="48" name="Rectangle 8"/>
                  <p:cNvSpPr>
                    <a:spLocks noChangeArrowheads="1"/>
                  </p:cNvSpPr>
                  <p:nvPr/>
                </p:nvSpPr>
                <p:spPr bwMode="auto">
                  <a:xfrm>
                    <a:off x="43" y="0"/>
                    <a:ext cx="720" cy="461"/>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b="1">
                        <a:cs typeface="Times New Roman" panose="02020603050405020304" pitchFamily="18" charset="0"/>
                      </a:rPr>
                      <a:t>Attribute Name</a:t>
                    </a:r>
                  </a:p>
                  <a:p>
                    <a:pPr eaLnBrk="1" hangingPunct="1">
                      <a:spcBef>
                        <a:spcPct val="0"/>
                      </a:spcBef>
                      <a:buClrTx/>
                      <a:buFontTx/>
                      <a:buNone/>
                    </a:pPr>
                    <a:endParaRPr lang="en-US" altLang="en-US" b="1"/>
                  </a:p>
                </p:txBody>
              </p:sp>
              <p:sp>
                <p:nvSpPr>
                  <p:cNvPr id="49" name="Rectangle 9"/>
                  <p:cNvSpPr>
                    <a:spLocks noChangeArrowheads="1"/>
                  </p:cNvSpPr>
                  <p:nvPr/>
                </p:nvSpPr>
                <p:spPr bwMode="auto">
                  <a:xfrm>
                    <a:off x="0" y="0"/>
                    <a:ext cx="806"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grpSp>
            <p:nvGrpSpPr>
              <p:cNvPr id="9" name="Group 10"/>
              <p:cNvGrpSpPr>
                <a:grpSpLocks/>
              </p:cNvGrpSpPr>
              <p:nvPr/>
            </p:nvGrpSpPr>
            <p:grpSpPr bwMode="auto">
              <a:xfrm>
                <a:off x="806" y="0"/>
                <a:ext cx="590" cy="461"/>
                <a:chOff x="806" y="0"/>
                <a:chExt cx="590" cy="461"/>
              </a:xfrm>
            </p:grpSpPr>
            <p:sp>
              <p:nvSpPr>
                <p:cNvPr id="42" name="Rectangle 11"/>
                <p:cNvSpPr>
                  <a:spLocks noChangeArrowheads="1"/>
                </p:cNvSpPr>
                <p:nvPr/>
              </p:nvSpPr>
              <p:spPr bwMode="auto">
                <a:xfrm>
                  <a:off x="806" y="0"/>
                  <a:ext cx="590" cy="461"/>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nvGrpSpPr>
                <p:cNvPr id="43" name="Group 12"/>
                <p:cNvGrpSpPr>
                  <a:grpSpLocks/>
                </p:cNvGrpSpPr>
                <p:nvPr/>
              </p:nvGrpSpPr>
              <p:grpSpPr bwMode="auto">
                <a:xfrm>
                  <a:off x="806" y="0"/>
                  <a:ext cx="590" cy="461"/>
                  <a:chOff x="806" y="0"/>
                  <a:chExt cx="590" cy="461"/>
                </a:xfrm>
              </p:grpSpPr>
              <p:sp>
                <p:nvSpPr>
                  <p:cNvPr id="44" name="Rectangle 13"/>
                  <p:cNvSpPr>
                    <a:spLocks noChangeArrowheads="1"/>
                  </p:cNvSpPr>
                  <p:nvPr/>
                </p:nvSpPr>
                <p:spPr bwMode="auto">
                  <a:xfrm>
                    <a:off x="849" y="0"/>
                    <a:ext cx="504" cy="461"/>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b="1">
                        <a:cs typeface="Times New Roman" panose="02020603050405020304" pitchFamily="18" charset="0"/>
                      </a:rPr>
                      <a:t>Data</a:t>
                    </a:r>
                  </a:p>
                  <a:p>
                    <a:pPr eaLnBrk="1" hangingPunct="1">
                      <a:spcBef>
                        <a:spcPct val="0"/>
                      </a:spcBef>
                      <a:buClrTx/>
                      <a:buFontTx/>
                      <a:buNone/>
                    </a:pPr>
                    <a:r>
                      <a:rPr lang="en-US" altLang="en-US" b="1">
                        <a:cs typeface="Times New Roman" panose="02020603050405020304" pitchFamily="18" charset="0"/>
                      </a:rPr>
                      <a:t>type</a:t>
                    </a:r>
                  </a:p>
                  <a:p>
                    <a:pPr eaLnBrk="1" hangingPunct="1">
                      <a:spcBef>
                        <a:spcPct val="0"/>
                      </a:spcBef>
                      <a:buClrTx/>
                      <a:buFontTx/>
                      <a:buNone/>
                    </a:pPr>
                    <a:endParaRPr lang="en-US" altLang="en-US" b="1"/>
                  </a:p>
                </p:txBody>
              </p:sp>
              <p:sp>
                <p:nvSpPr>
                  <p:cNvPr id="45" name="Rectangle 14"/>
                  <p:cNvSpPr>
                    <a:spLocks noChangeArrowheads="1"/>
                  </p:cNvSpPr>
                  <p:nvPr/>
                </p:nvSpPr>
                <p:spPr bwMode="auto">
                  <a:xfrm>
                    <a:off x="806" y="0"/>
                    <a:ext cx="590"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grpSp>
            <p:nvGrpSpPr>
              <p:cNvPr id="10" name="Group 15"/>
              <p:cNvGrpSpPr>
                <a:grpSpLocks/>
              </p:cNvGrpSpPr>
              <p:nvPr/>
            </p:nvGrpSpPr>
            <p:grpSpPr bwMode="auto">
              <a:xfrm>
                <a:off x="1396" y="0"/>
                <a:ext cx="1958" cy="461"/>
                <a:chOff x="1396" y="0"/>
                <a:chExt cx="1958" cy="461"/>
              </a:xfrm>
            </p:grpSpPr>
            <p:sp>
              <p:nvSpPr>
                <p:cNvPr id="38" name="Rectangle 16"/>
                <p:cNvSpPr>
                  <a:spLocks noChangeArrowheads="1"/>
                </p:cNvSpPr>
                <p:nvPr/>
              </p:nvSpPr>
              <p:spPr bwMode="auto">
                <a:xfrm>
                  <a:off x="1396" y="0"/>
                  <a:ext cx="1958" cy="461"/>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nvGrpSpPr>
                <p:cNvPr id="39" name="Group 17"/>
                <p:cNvGrpSpPr>
                  <a:grpSpLocks/>
                </p:cNvGrpSpPr>
                <p:nvPr/>
              </p:nvGrpSpPr>
              <p:grpSpPr bwMode="auto">
                <a:xfrm>
                  <a:off x="1396" y="0"/>
                  <a:ext cx="1958" cy="461"/>
                  <a:chOff x="1396" y="0"/>
                  <a:chExt cx="1958" cy="461"/>
                </a:xfrm>
              </p:grpSpPr>
              <p:sp>
                <p:nvSpPr>
                  <p:cNvPr id="40" name="Rectangle 18"/>
                  <p:cNvSpPr>
                    <a:spLocks noChangeArrowheads="1"/>
                  </p:cNvSpPr>
                  <p:nvPr/>
                </p:nvSpPr>
                <p:spPr bwMode="auto">
                  <a:xfrm>
                    <a:off x="1439" y="0"/>
                    <a:ext cx="1872" cy="461"/>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b="1">
                        <a:cs typeface="Times New Roman" panose="02020603050405020304" pitchFamily="18" charset="0"/>
                      </a:rPr>
                      <a:t>Description</a:t>
                    </a:r>
                  </a:p>
                  <a:p>
                    <a:pPr eaLnBrk="1" hangingPunct="1">
                      <a:spcBef>
                        <a:spcPct val="0"/>
                      </a:spcBef>
                      <a:buClrTx/>
                      <a:buFontTx/>
                      <a:buNone/>
                    </a:pPr>
                    <a:endParaRPr lang="en-US" altLang="en-US" b="1"/>
                  </a:p>
                </p:txBody>
              </p:sp>
              <p:sp>
                <p:nvSpPr>
                  <p:cNvPr id="41" name="Rectangle 19"/>
                  <p:cNvSpPr>
                    <a:spLocks noChangeArrowheads="1"/>
                  </p:cNvSpPr>
                  <p:nvPr/>
                </p:nvSpPr>
                <p:spPr bwMode="auto">
                  <a:xfrm>
                    <a:off x="1396" y="0"/>
                    <a:ext cx="1958"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grpSp>
            <p:nvGrpSpPr>
              <p:cNvPr id="11" name="Group 20"/>
              <p:cNvGrpSpPr>
                <a:grpSpLocks/>
              </p:cNvGrpSpPr>
              <p:nvPr/>
            </p:nvGrpSpPr>
            <p:grpSpPr bwMode="auto">
              <a:xfrm>
                <a:off x="0" y="461"/>
                <a:ext cx="806" cy="461"/>
                <a:chOff x="0" y="461"/>
                <a:chExt cx="806" cy="461"/>
              </a:xfrm>
            </p:grpSpPr>
            <p:sp>
              <p:nvSpPr>
                <p:cNvPr id="36" name="Rectangle 21"/>
                <p:cNvSpPr>
                  <a:spLocks noChangeArrowheads="1"/>
                </p:cNvSpPr>
                <p:nvPr/>
              </p:nvSpPr>
              <p:spPr bwMode="auto">
                <a:xfrm>
                  <a:off x="43" y="461"/>
                  <a:ext cx="720" cy="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b="1">
                      <a:cs typeface="Times New Roman" panose="02020603050405020304" pitchFamily="18" charset="0"/>
                    </a:rPr>
                    <a:t>%ROWCOUNT</a:t>
                  </a:r>
                </a:p>
                <a:p>
                  <a:pPr eaLnBrk="1" hangingPunct="1">
                    <a:spcBef>
                      <a:spcPct val="0"/>
                    </a:spcBef>
                    <a:buClrTx/>
                    <a:buFontTx/>
                    <a:buNone/>
                  </a:pPr>
                  <a:endParaRPr lang="en-US" altLang="en-US" b="1"/>
                </a:p>
              </p:txBody>
            </p:sp>
            <p:sp>
              <p:nvSpPr>
                <p:cNvPr id="37" name="Rectangle 22"/>
                <p:cNvSpPr>
                  <a:spLocks noChangeArrowheads="1"/>
                </p:cNvSpPr>
                <p:nvPr/>
              </p:nvSpPr>
              <p:spPr bwMode="auto">
                <a:xfrm>
                  <a:off x="0" y="461"/>
                  <a:ext cx="806"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12" name="Group 23"/>
              <p:cNvGrpSpPr>
                <a:grpSpLocks/>
              </p:cNvGrpSpPr>
              <p:nvPr/>
            </p:nvGrpSpPr>
            <p:grpSpPr bwMode="auto">
              <a:xfrm>
                <a:off x="806" y="461"/>
                <a:ext cx="590" cy="461"/>
                <a:chOff x="806" y="461"/>
                <a:chExt cx="590" cy="461"/>
              </a:xfrm>
            </p:grpSpPr>
            <p:sp>
              <p:nvSpPr>
                <p:cNvPr id="34" name="Rectangle 24"/>
                <p:cNvSpPr>
                  <a:spLocks noChangeArrowheads="1"/>
                </p:cNvSpPr>
                <p:nvPr/>
              </p:nvSpPr>
              <p:spPr bwMode="auto">
                <a:xfrm>
                  <a:off x="849" y="461"/>
                  <a:ext cx="504" cy="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b="1">
                      <a:cs typeface="Times New Roman" panose="02020603050405020304" pitchFamily="18" charset="0"/>
                    </a:rPr>
                    <a:t>Number</a:t>
                  </a:r>
                </a:p>
                <a:p>
                  <a:pPr eaLnBrk="1" hangingPunct="1">
                    <a:spcBef>
                      <a:spcPct val="0"/>
                    </a:spcBef>
                    <a:buClrTx/>
                    <a:buFontTx/>
                    <a:buNone/>
                  </a:pPr>
                  <a:endParaRPr lang="en-US" altLang="en-US" b="1"/>
                </a:p>
              </p:txBody>
            </p:sp>
            <p:sp>
              <p:nvSpPr>
                <p:cNvPr id="35" name="Rectangle 25"/>
                <p:cNvSpPr>
                  <a:spLocks noChangeArrowheads="1"/>
                </p:cNvSpPr>
                <p:nvPr/>
              </p:nvSpPr>
              <p:spPr bwMode="auto">
                <a:xfrm>
                  <a:off x="806" y="461"/>
                  <a:ext cx="590"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13" name="Group 26"/>
              <p:cNvGrpSpPr>
                <a:grpSpLocks/>
              </p:cNvGrpSpPr>
              <p:nvPr/>
            </p:nvGrpSpPr>
            <p:grpSpPr bwMode="auto">
              <a:xfrm>
                <a:off x="1396" y="461"/>
                <a:ext cx="1958" cy="461"/>
                <a:chOff x="1396" y="461"/>
                <a:chExt cx="1958" cy="461"/>
              </a:xfrm>
            </p:grpSpPr>
            <p:sp>
              <p:nvSpPr>
                <p:cNvPr id="32" name="Rectangle 27"/>
                <p:cNvSpPr>
                  <a:spLocks noChangeArrowheads="1"/>
                </p:cNvSpPr>
                <p:nvPr/>
              </p:nvSpPr>
              <p:spPr bwMode="auto">
                <a:xfrm>
                  <a:off x="1439" y="461"/>
                  <a:ext cx="1872" cy="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b="1" dirty="0">
                      <a:cs typeface="Times New Roman" panose="02020603050405020304" pitchFamily="18" charset="0"/>
                    </a:rPr>
                    <a:t>Number of rows affected by the SQL statement</a:t>
                  </a:r>
                </a:p>
                <a:p>
                  <a:pPr eaLnBrk="1" hangingPunct="1">
                    <a:spcBef>
                      <a:spcPct val="0"/>
                    </a:spcBef>
                    <a:buClrTx/>
                    <a:buFontTx/>
                    <a:buNone/>
                  </a:pPr>
                  <a:endParaRPr lang="en-US" altLang="en-US" b="1" dirty="0"/>
                </a:p>
              </p:txBody>
            </p:sp>
            <p:sp>
              <p:nvSpPr>
                <p:cNvPr id="33" name="Rectangle 28"/>
                <p:cNvSpPr>
                  <a:spLocks noChangeArrowheads="1"/>
                </p:cNvSpPr>
                <p:nvPr/>
              </p:nvSpPr>
              <p:spPr bwMode="auto">
                <a:xfrm>
                  <a:off x="1396" y="461"/>
                  <a:ext cx="1958"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14" name="Group 29"/>
              <p:cNvGrpSpPr>
                <a:grpSpLocks/>
              </p:cNvGrpSpPr>
              <p:nvPr/>
            </p:nvGrpSpPr>
            <p:grpSpPr bwMode="auto">
              <a:xfrm>
                <a:off x="0" y="922"/>
                <a:ext cx="806" cy="461"/>
                <a:chOff x="0" y="922"/>
                <a:chExt cx="806" cy="461"/>
              </a:xfrm>
            </p:grpSpPr>
            <p:sp>
              <p:nvSpPr>
                <p:cNvPr id="30" name="Rectangle 30"/>
                <p:cNvSpPr>
                  <a:spLocks noChangeArrowheads="1"/>
                </p:cNvSpPr>
                <p:nvPr/>
              </p:nvSpPr>
              <p:spPr bwMode="auto">
                <a:xfrm>
                  <a:off x="43" y="922"/>
                  <a:ext cx="720" cy="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b="1">
                      <a:cs typeface="Times New Roman" panose="02020603050405020304" pitchFamily="18" charset="0"/>
                    </a:rPr>
                    <a:t>%FOUND</a:t>
                  </a:r>
                </a:p>
                <a:p>
                  <a:pPr eaLnBrk="1" hangingPunct="1">
                    <a:spcBef>
                      <a:spcPct val="0"/>
                    </a:spcBef>
                    <a:buClrTx/>
                    <a:buFontTx/>
                    <a:buNone/>
                  </a:pPr>
                  <a:endParaRPr lang="en-US" altLang="en-US" b="1"/>
                </a:p>
              </p:txBody>
            </p:sp>
            <p:sp>
              <p:nvSpPr>
                <p:cNvPr id="31" name="Rectangle 31"/>
                <p:cNvSpPr>
                  <a:spLocks noChangeArrowheads="1"/>
                </p:cNvSpPr>
                <p:nvPr/>
              </p:nvSpPr>
              <p:spPr bwMode="auto">
                <a:xfrm>
                  <a:off x="0" y="922"/>
                  <a:ext cx="806"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15" name="Group 32"/>
              <p:cNvGrpSpPr>
                <a:grpSpLocks/>
              </p:cNvGrpSpPr>
              <p:nvPr/>
            </p:nvGrpSpPr>
            <p:grpSpPr bwMode="auto">
              <a:xfrm>
                <a:off x="806" y="922"/>
                <a:ext cx="590" cy="461"/>
                <a:chOff x="806" y="922"/>
                <a:chExt cx="590" cy="461"/>
              </a:xfrm>
            </p:grpSpPr>
            <p:sp>
              <p:nvSpPr>
                <p:cNvPr id="28" name="Rectangle 33"/>
                <p:cNvSpPr>
                  <a:spLocks noChangeArrowheads="1"/>
                </p:cNvSpPr>
                <p:nvPr/>
              </p:nvSpPr>
              <p:spPr bwMode="auto">
                <a:xfrm>
                  <a:off x="849" y="922"/>
                  <a:ext cx="504" cy="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b="1">
                      <a:cs typeface="Times New Roman" panose="02020603050405020304" pitchFamily="18" charset="0"/>
                    </a:rPr>
                    <a:t>Boolean</a:t>
                  </a:r>
                </a:p>
                <a:p>
                  <a:pPr eaLnBrk="1" hangingPunct="1">
                    <a:spcBef>
                      <a:spcPct val="0"/>
                    </a:spcBef>
                    <a:buClrTx/>
                    <a:buFontTx/>
                    <a:buNone/>
                  </a:pPr>
                  <a:endParaRPr lang="en-US" altLang="en-US" b="1"/>
                </a:p>
              </p:txBody>
            </p:sp>
            <p:sp>
              <p:nvSpPr>
                <p:cNvPr id="29" name="Rectangle 34"/>
                <p:cNvSpPr>
                  <a:spLocks noChangeArrowheads="1"/>
                </p:cNvSpPr>
                <p:nvPr/>
              </p:nvSpPr>
              <p:spPr bwMode="auto">
                <a:xfrm>
                  <a:off x="806" y="922"/>
                  <a:ext cx="590"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16" name="Group 35"/>
              <p:cNvGrpSpPr>
                <a:grpSpLocks/>
              </p:cNvGrpSpPr>
              <p:nvPr/>
            </p:nvGrpSpPr>
            <p:grpSpPr bwMode="auto">
              <a:xfrm>
                <a:off x="1396" y="922"/>
                <a:ext cx="1958" cy="461"/>
                <a:chOff x="1396" y="922"/>
                <a:chExt cx="1958" cy="461"/>
              </a:xfrm>
            </p:grpSpPr>
            <p:sp>
              <p:nvSpPr>
                <p:cNvPr id="26" name="Rectangle 36"/>
                <p:cNvSpPr>
                  <a:spLocks noChangeArrowheads="1"/>
                </p:cNvSpPr>
                <p:nvPr/>
              </p:nvSpPr>
              <p:spPr bwMode="auto">
                <a:xfrm>
                  <a:off x="1439" y="922"/>
                  <a:ext cx="1872" cy="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b="1" dirty="0">
                      <a:cs typeface="Times New Roman" panose="02020603050405020304" pitchFamily="18" charset="0"/>
                    </a:rPr>
                    <a:t>TRUE if at least one row is affected by the SQL statement, otherwise FALSE</a:t>
                  </a:r>
                </a:p>
                <a:p>
                  <a:pPr eaLnBrk="1" hangingPunct="1">
                    <a:spcBef>
                      <a:spcPct val="0"/>
                    </a:spcBef>
                    <a:buClrTx/>
                    <a:buFontTx/>
                    <a:buNone/>
                  </a:pPr>
                  <a:endParaRPr lang="en-US" altLang="en-US" b="1" dirty="0"/>
                </a:p>
              </p:txBody>
            </p:sp>
            <p:sp>
              <p:nvSpPr>
                <p:cNvPr id="27" name="Rectangle 37"/>
                <p:cNvSpPr>
                  <a:spLocks noChangeArrowheads="1"/>
                </p:cNvSpPr>
                <p:nvPr/>
              </p:nvSpPr>
              <p:spPr bwMode="auto">
                <a:xfrm>
                  <a:off x="1396" y="922"/>
                  <a:ext cx="1958"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17" name="Group 38"/>
              <p:cNvGrpSpPr>
                <a:grpSpLocks/>
              </p:cNvGrpSpPr>
              <p:nvPr/>
            </p:nvGrpSpPr>
            <p:grpSpPr bwMode="auto">
              <a:xfrm>
                <a:off x="0" y="1383"/>
                <a:ext cx="806" cy="461"/>
                <a:chOff x="0" y="1383"/>
                <a:chExt cx="806" cy="461"/>
              </a:xfrm>
            </p:grpSpPr>
            <p:sp>
              <p:nvSpPr>
                <p:cNvPr id="24" name="Rectangle 39"/>
                <p:cNvSpPr>
                  <a:spLocks noChangeArrowheads="1"/>
                </p:cNvSpPr>
                <p:nvPr/>
              </p:nvSpPr>
              <p:spPr bwMode="auto">
                <a:xfrm>
                  <a:off x="43" y="1383"/>
                  <a:ext cx="720" cy="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b="1">
                      <a:cs typeface="Times New Roman" panose="02020603050405020304" pitchFamily="18" charset="0"/>
                    </a:rPr>
                    <a:t>%NOTFOUND</a:t>
                  </a:r>
                </a:p>
                <a:p>
                  <a:pPr eaLnBrk="1" hangingPunct="1">
                    <a:spcBef>
                      <a:spcPct val="0"/>
                    </a:spcBef>
                    <a:buClrTx/>
                    <a:buFontTx/>
                    <a:buNone/>
                  </a:pPr>
                  <a:endParaRPr lang="en-US" altLang="en-US" b="1"/>
                </a:p>
              </p:txBody>
            </p:sp>
            <p:sp>
              <p:nvSpPr>
                <p:cNvPr id="25" name="Rectangle 40"/>
                <p:cNvSpPr>
                  <a:spLocks noChangeArrowheads="1"/>
                </p:cNvSpPr>
                <p:nvPr/>
              </p:nvSpPr>
              <p:spPr bwMode="auto">
                <a:xfrm>
                  <a:off x="0" y="1383"/>
                  <a:ext cx="806"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18" name="Group 41"/>
              <p:cNvGrpSpPr>
                <a:grpSpLocks/>
              </p:cNvGrpSpPr>
              <p:nvPr/>
            </p:nvGrpSpPr>
            <p:grpSpPr bwMode="auto">
              <a:xfrm>
                <a:off x="806" y="1383"/>
                <a:ext cx="590" cy="461"/>
                <a:chOff x="806" y="1383"/>
                <a:chExt cx="590" cy="461"/>
              </a:xfrm>
            </p:grpSpPr>
            <p:sp>
              <p:nvSpPr>
                <p:cNvPr id="22" name="Rectangle 42"/>
                <p:cNvSpPr>
                  <a:spLocks noChangeArrowheads="1"/>
                </p:cNvSpPr>
                <p:nvPr/>
              </p:nvSpPr>
              <p:spPr bwMode="auto">
                <a:xfrm>
                  <a:off x="849" y="1383"/>
                  <a:ext cx="504" cy="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b="1">
                      <a:cs typeface="Times New Roman" panose="02020603050405020304" pitchFamily="18" charset="0"/>
                    </a:rPr>
                    <a:t>Boolean</a:t>
                  </a:r>
                </a:p>
                <a:p>
                  <a:pPr eaLnBrk="1" hangingPunct="1">
                    <a:spcBef>
                      <a:spcPct val="0"/>
                    </a:spcBef>
                    <a:buClrTx/>
                    <a:buFontTx/>
                    <a:buNone/>
                  </a:pPr>
                  <a:endParaRPr lang="en-US" altLang="en-US" b="1"/>
                </a:p>
              </p:txBody>
            </p:sp>
            <p:sp>
              <p:nvSpPr>
                <p:cNvPr id="23" name="Rectangle 43"/>
                <p:cNvSpPr>
                  <a:spLocks noChangeArrowheads="1"/>
                </p:cNvSpPr>
                <p:nvPr/>
              </p:nvSpPr>
              <p:spPr bwMode="auto">
                <a:xfrm>
                  <a:off x="806" y="1383"/>
                  <a:ext cx="590"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19" name="Group 44"/>
              <p:cNvGrpSpPr>
                <a:grpSpLocks/>
              </p:cNvGrpSpPr>
              <p:nvPr/>
            </p:nvGrpSpPr>
            <p:grpSpPr bwMode="auto">
              <a:xfrm>
                <a:off x="1396" y="1383"/>
                <a:ext cx="1958" cy="461"/>
                <a:chOff x="1396" y="1383"/>
                <a:chExt cx="1958" cy="461"/>
              </a:xfrm>
            </p:grpSpPr>
            <p:sp>
              <p:nvSpPr>
                <p:cNvPr id="20" name="Rectangle 45"/>
                <p:cNvSpPr>
                  <a:spLocks noChangeArrowheads="1"/>
                </p:cNvSpPr>
                <p:nvPr/>
              </p:nvSpPr>
              <p:spPr bwMode="auto">
                <a:xfrm>
                  <a:off x="1439" y="1383"/>
                  <a:ext cx="1872" cy="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b="1" dirty="0">
                      <a:cs typeface="Times New Roman" panose="02020603050405020304" pitchFamily="18" charset="0"/>
                    </a:rPr>
                    <a:t>TRUE if no rows are affected by the SQL statement, otherwise FALSE</a:t>
                  </a:r>
                </a:p>
                <a:p>
                  <a:pPr eaLnBrk="1" hangingPunct="1">
                    <a:spcBef>
                      <a:spcPct val="0"/>
                    </a:spcBef>
                    <a:buClrTx/>
                    <a:buFontTx/>
                    <a:buNone/>
                  </a:pPr>
                  <a:endParaRPr lang="en-US" altLang="en-US" b="1" dirty="0"/>
                </a:p>
              </p:txBody>
            </p:sp>
            <p:sp>
              <p:nvSpPr>
                <p:cNvPr id="21" name="Rectangle 46"/>
                <p:cNvSpPr>
                  <a:spLocks noChangeArrowheads="1"/>
                </p:cNvSpPr>
                <p:nvPr/>
              </p:nvSpPr>
              <p:spPr bwMode="auto">
                <a:xfrm>
                  <a:off x="1396" y="1383"/>
                  <a:ext cx="1958"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sp>
          <p:nvSpPr>
            <p:cNvPr id="7" name="Rectangle 47"/>
            <p:cNvSpPr>
              <a:spLocks noChangeArrowheads="1"/>
            </p:cNvSpPr>
            <p:nvPr/>
          </p:nvSpPr>
          <p:spPr bwMode="auto">
            <a:xfrm>
              <a:off x="-3" y="-3"/>
              <a:ext cx="3360" cy="1850"/>
            </a:xfrm>
            <a:prstGeom prst="rect">
              <a:avLst/>
            </a:prstGeom>
            <a:noFill/>
            <a:ln w="9525">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spTree>
    <p:extLst>
      <p:ext uri="{BB962C8B-B14F-4D97-AF65-F5344CB8AC3E}">
        <p14:creationId xmlns:p14="http://schemas.microsoft.com/office/powerpoint/2010/main" val="33613689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4"/>
          <p:cNvSpPr>
            <a:spLocks noGrp="1"/>
          </p:cNvSpPr>
          <p:nvPr>
            <p:ph type="title" idx="4294967295"/>
          </p:nvPr>
        </p:nvSpPr>
        <p:spPr>
          <a:xfrm>
            <a:off x="0" y="139700"/>
            <a:ext cx="7564438" cy="669925"/>
          </a:xfrm>
        </p:spPr>
        <p:txBody>
          <a:bodyPr/>
          <a:lstStyle/>
          <a:p>
            <a:pPr eaLnBrk="1" hangingPunct="1"/>
            <a:r>
              <a:rPr altLang="en-US" dirty="0" smtClean="0">
                <a:solidFill>
                  <a:schemeClr val="tx1"/>
                </a:solidFill>
              </a:rPr>
              <a:t>Implicit Cursor</a:t>
            </a:r>
          </a:p>
        </p:txBody>
      </p:sp>
      <p:pic>
        <p:nvPicPr>
          <p:cNvPr id="49" name="Picture 3" descr="Figure021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47800" y="1905000"/>
            <a:ext cx="5029200" cy="3557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6152363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5"/>
          <p:cNvSpPr>
            <a:spLocks noGrp="1"/>
          </p:cNvSpPr>
          <p:nvPr>
            <p:ph idx="4294967295"/>
          </p:nvPr>
        </p:nvSpPr>
        <p:spPr>
          <a:xfrm>
            <a:off x="481013" y="1219200"/>
            <a:ext cx="8662987" cy="4956175"/>
          </a:xfrm>
        </p:spPr>
        <p:txBody>
          <a:bodyPr/>
          <a:lstStyle/>
          <a:p>
            <a:pPr>
              <a:lnSpc>
                <a:spcPct val="90000"/>
              </a:lnSpc>
              <a:buFont typeface="Wingdings" panose="05000000000000000000" pitchFamily="2" charset="2"/>
              <a:buNone/>
            </a:pPr>
            <a:endParaRPr lang="en-GB" altLang="en-US" smtClean="0"/>
          </a:p>
          <a:p>
            <a:endParaRPr lang="en-US" altLang="en-US" smtClean="0"/>
          </a:p>
          <a:p>
            <a:endParaRPr lang="en-US" altLang="en-US" smtClean="0"/>
          </a:p>
          <a:p>
            <a:pPr lvl="1">
              <a:lnSpc>
                <a:spcPct val="80000"/>
              </a:lnSpc>
              <a:buFontTx/>
              <a:buNone/>
            </a:pPr>
            <a:endParaRPr lang="en-US" altLang="en-US" smtClean="0">
              <a:latin typeface="Courier New" panose="02070309020205020404" pitchFamily="49" charset="0"/>
            </a:endParaRPr>
          </a:p>
          <a:p>
            <a:pPr lvl="1">
              <a:lnSpc>
                <a:spcPct val="80000"/>
              </a:lnSpc>
              <a:buFontTx/>
              <a:buNone/>
            </a:pPr>
            <a:endParaRPr lang="en-US" altLang="en-US" smtClean="0"/>
          </a:p>
          <a:p>
            <a:pPr lvl="1">
              <a:lnSpc>
                <a:spcPct val="80000"/>
              </a:lnSpc>
              <a:buFontTx/>
              <a:buNone/>
            </a:pPr>
            <a:endParaRPr lang="en-US" altLang="en-US" smtClean="0"/>
          </a:p>
        </p:txBody>
      </p:sp>
      <p:sp>
        <p:nvSpPr>
          <p:cNvPr id="6" name="Title 4"/>
          <p:cNvSpPr>
            <a:spLocks noGrp="1"/>
          </p:cNvSpPr>
          <p:nvPr>
            <p:ph type="title" idx="4294967295"/>
          </p:nvPr>
        </p:nvSpPr>
        <p:spPr>
          <a:xfrm>
            <a:off x="0" y="74613"/>
            <a:ext cx="7564438" cy="669925"/>
          </a:xfrm>
        </p:spPr>
        <p:txBody>
          <a:bodyPr/>
          <a:lstStyle/>
          <a:p>
            <a:pPr eaLnBrk="1" hangingPunct="1"/>
            <a:r>
              <a:rPr altLang="en-US" dirty="0" smtClean="0">
                <a:solidFill>
                  <a:schemeClr val="tx1"/>
                </a:solidFill>
              </a:rPr>
              <a:t>Explicit Cursor</a:t>
            </a:r>
          </a:p>
        </p:txBody>
      </p:sp>
      <p:grpSp>
        <p:nvGrpSpPr>
          <p:cNvPr id="7" name="Group 3"/>
          <p:cNvGrpSpPr>
            <a:grpSpLocks/>
          </p:cNvGrpSpPr>
          <p:nvPr/>
        </p:nvGrpSpPr>
        <p:grpSpPr bwMode="auto">
          <a:xfrm>
            <a:off x="914400" y="1382713"/>
            <a:ext cx="7239000" cy="4419600"/>
            <a:chOff x="-3" y="-3"/>
            <a:chExt cx="3072" cy="3231"/>
          </a:xfrm>
        </p:grpSpPr>
        <p:grpSp>
          <p:nvGrpSpPr>
            <p:cNvPr id="8" name="Group 4"/>
            <p:cNvGrpSpPr>
              <a:grpSpLocks/>
            </p:cNvGrpSpPr>
            <p:nvPr/>
          </p:nvGrpSpPr>
          <p:grpSpPr bwMode="auto">
            <a:xfrm>
              <a:off x="0" y="0"/>
              <a:ext cx="3066" cy="3225"/>
              <a:chOff x="0" y="0"/>
              <a:chExt cx="3066" cy="3225"/>
            </a:xfrm>
          </p:grpSpPr>
          <p:grpSp>
            <p:nvGrpSpPr>
              <p:cNvPr id="10" name="Group 5"/>
              <p:cNvGrpSpPr>
                <a:grpSpLocks/>
              </p:cNvGrpSpPr>
              <p:nvPr/>
            </p:nvGrpSpPr>
            <p:grpSpPr bwMode="auto">
              <a:xfrm>
                <a:off x="0" y="0"/>
                <a:ext cx="518" cy="346"/>
                <a:chOff x="0" y="0"/>
                <a:chExt cx="518" cy="346"/>
              </a:xfrm>
            </p:grpSpPr>
            <p:sp>
              <p:nvSpPr>
                <p:cNvPr id="58" name="Rectangle 6"/>
                <p:cNvSpPr>
                  <a:spLocks noChangeArrowheads="1"/>
                </p:cNvSpPr>
                <p:nvPr/>
              </p:nvSpPr>
              <p:spPr bwMode="auto">
                <a:xfrm>
                  <a:off x="0" y="0"/>
                  <a:ext cx="518" cy="346"/>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nvGrpSpPr>
                <p:cNvPr id="59" name="Group 7"/>
                <p:cNvGrpSpPr>
                  <a:grpSpLocks/>
                </p:cNvGrpSpPr>
                <p:nvPr/>
              </p:nvGrpSpPr>
              <p:grpSpPr bwMode="auto">
                <a:xfrm>
                  <a:off x="0" y="0"/>
                  <a:ext cx="518" cy="346"/>
                  <a:chOff x="0" y="0"/>
                  <a:chExt cx="518" cy="346"/>
                </a:xfrm>
              </p:grpSpPr>
              <p:sp>
                <p:nvSpPr>
                  <p:cNvPr id="60" name="Rectangle 8"/>
                  <p:cNvSpPr>
                    <a:spLocks noChangeArrowheads="1"/>
                  </p:cNvSpPr>
                  <p:nvPr/>
                </p:nvSpPr>
                <p:spPr bwMode="auto">
                  <a:xfrm>
                    <a:off x="43" y="0"/>
                    <a:ext cx="432" cy="346"/>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a:cs typeface="Times New Roman" panose="02020603050405020304" pitchFamily="18" charset="0"/>
                      </a:rPr>
                      <a:t>Step</a:t>
                    </a:r>
                  </a:p>
                  <a:p>
                    <a:pPr eaLnBrk="1" hangingPunct="1">
                      <a:spcBef>
                        <a:spcPct val="0"/>
                      </a:spcBef>
                      <a:buClrTx/>
                      <a:buFontTx/>
                      <a:buNone/>
                    </a:pPr>
                    <a:endParaRPr lang="en-US" altLang="en-US"/>
                  </a:p>
                </p:txBody>
              </p:sp>
              <p:sp>
                <p:nvSpPr>
                  <p:cNvPr id="61" name="Rectangle 9"/>
                  <p:cNvSpPr>
                    <a:spLocks noChangeArrowheads="1"/>
                  </p:cNvSpPr>
                  <p:nvPr/>
                </p:nvSpPr>
                <p:spPr bwMode="auto">
                  <a:xfrm>
                    <a:off x="0" y="0"/>
                    <a:ext cx="518" cy="34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grpSp>
            <p:nvGrpSpPr>
              <p:cNvPr id="11" name="Group 10"/>
              <p:cNvGrpSpPr>
                <a:grpSpLocks/>
              </p:cNvGrpSpPr>
              <p:nvPr/>
            </p:nvGrpSpPr>
            <p:grpSpPr bwMode="auto">
              <a:xfrm>
                <a:off x="518" y="0"/>
                <a:ext cx="806" cy="346"/>
                <a:chOff x="518" y="0"/>
                <a:chExt cx="806" cy="346"/>
              </a:xfrm>
            </p:grpSpPr>
            <p:sp>
              <p:nvSpPr>
                <p:cNvPr id="54" name="Rectangle 11"/>
                <p:cNvSpPr>
                  <a:spLocks noChangeArrowheads="1"/>
                </p:cNvSpPr>
                <p:nvPr/>
              </p:nvSpPr>
              <p:spPr bwMode="auto">
                <a:xfrm>
                  <a:off x="518" y="0"/>
                  <a:ext cx="806" cy="346"/>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nvGrpSpPr>
                <p:cNvPr id="55" name="Group 12"/>
                <p:cNvGrpSpPr>
                  <a:grpSpLocks/>
                </p:cNvGrpSpPr>
                <p:nvPr/>
              </p:nvGrpSpPr>
              <p:grpSpPr bwMode="auto">
                <a:xfrm>
                  <a:off x="518" y="0"/>
                  <a:ext cx="806" cy="346"/>
                  <a:chOff x="518" y="0"/>
                  <a:chExt cx="806" cy="346"/>
                </a:xfrm>
              </p:grpSpPr>
              <p:sp>
                <p:nvSpPr>
                  <p:cNvPr id="56" name="Rectangle 13"/>
                  <p:cNvSpPr>
                    <a:spLocks noChangeArrowheads="1"/>
                  </p:cNvSpPr>
                  <p:nvPr/>
                </p:nvSpPr>
                <p:spPr bwMode="auto">
                  <a:xfrm>
                    <a:off x="561" y="0"/>
                    <a:ext cx="720" cy="346"/>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a:cs typeface="Times New Roman" panose="02020603050405020304" pitchFamily="18" charset="0"/>
                      </a:rPr>
                      <a:t>Step Activity</a:t>
                    </a:r>
                  </a:p>
                  <a:p>
                    <a:pPr eaLnBrk="1" hangingPunct="1">
                      <a:spcBef>
                        <a:spcPct val="0"/>
                      </a:spcBef>
                      <a:buClrTx/>
                      <a:buFontTx/>
                      <a:buNone/>
                    </a:pPr>
                    <a:endParaRPr lang="en-US" altLang="en-US"/>
                  </a:p>
                </p:txBody>
              </p:sp>
              <p:sp>
                <p:nvSpPr>
                  <p:cNvPr id="57" name="Rectangle 14"/>
                  <p:cNvSpPr>
                    <a:spLocks noChangeArrowheads="1"/>
                  </p:cNvSpPr>
                  <p:nvPr/>
                </p:nvSpPr>
                <p:spPr bwMode="auto">
                  <a:xfrm>
                    <a:off x="518" y="0"/>
                    <a:ext cx="806" cy="34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grpSp>
            <p:nvGrpSpPr>
              <p:cNvPr id="12" name="Group 15"/>
              <p:cNvGrpSpPr>
                <a:grpSpLocks/>
              </p:cNvGrpSpPr>
              <p:nvPr/>
            </p:nvGrpSpPr>
            <p:grpSpPr bwMode="auto">
              <a:xfrm>
                <a:off x="1324" y="0"/>
                <a:ext cx="1742" cy="346"/>
                <a:chOff x="1324" y="0"/>
                <a:chExt cx="1742" cy="346"/>
              </a:xfrm>
            </p:grpSpPr>
            <p:sp>
              <p:nvSpPr>
                <p:cNvPr id="50" name="Rectangle 16"/>
                <p:cNvSpPr>
                  <a:spLocks noChangeArrowheads="1"/>
                </p:cNvSpPr>
                <p:nvPr/>
              </p:nvSpPr>
              <p:spPr bwMode="auto">
                <a:xfrm>
                  <a:off x="1324" y="0"/>
                  <a:ext cx="1742" cy="346"/>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nvGrpSpPr>
                <p:cNvPr id="51" name="Group 17"/>
                <p:cNvGrpSpPr>
                  <a:grpSpLocks/>
                </p:cNvGrpSpPr>
                <p:nvPr/>
              </p:nvGrpSpPr>
              <p:grpSpPr bwMode="auto">
                <a:xfrm>
                  <a:off x="1324" y="0"/>
                  <a:ext cx="1742" cy="346"/>
                  <a:chOff x="1324" y="0"/>
                  <a:chExt cx="1742" cy="346"/>
                </a:xfrm>
              </p:grpSpPr>
              <p:sp>
                <p:nvSpPr>
                  <p:cNvPr id="52" name="Rectangle 18"/>
                  <p:cNvSpPr>
                    <a:spLocks noChangeArrowheads="1"/>
                  </p:cNvSpPr>
                  <p:nvPr/>
                </p:nvSpPr>
                <p:spPr bwMode="auto">
                  <a:xfrm>
                    <a:off x="1367" y="0"/>
                    <a:ext cx="1656" cy="346"/>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a:cs typeface="Times New Roman" panose="02020603050405020304" pitchFamily="18" charset="0"/>
                      </a:rPr>
                      <a:t>Activity Description</a:t>
                    </a:r>
                  </a:p>
                  <a:p>
                    <a:pPr eaLnBrk="1" hangingPunct="1">
                      <a:spcBef>
                        <a:spcPct val="0"/>
                      </a:spcBef>
                      <a:buClrTx/>
                      <a:buFontTx/>
                      <a:buNone/>
                    </a:pPr>
                    <a:endParaRPr lang="en-US" altLang="en-US"/>
                  </a:p>
                </p:txBody>
              </p:sp>
              <p:sp>
                <p:nvSpPr>
                  <p:cNvPr id="53" name="Rectangle 19"/>
                  <p:cNvSpPr>
                    <a:spLocks noChangeArrowheads="1"/>
                  </p:cNvSpPr>
                  <p:nvPr/>
                </p:nvSpPr>
                <p:spPr bwMode="auto">
                  <a:xfrm>
                    <a:off x="1324" y="0"/>
                    <a:ext cx="1742" cy="34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grpSp>
            <p:nvGrpSpPr>
              <p:cNvPr id="13" name="Group 20"/>
              <p:cNvGrpSpPr>
                <a:grpSpLocks/>
              </p:cNvGrpSpPr>
              <p:nvPr/>
            </p:nvGrpSpPr>
            <p:grpSpPr bwMode="auto">
              <a:xfrm>
                <a:off x="0" y="346"/>
                <a:ext cx="518" cy="921"/>
                <a:chOff x="0" y="346"/>
                <a:chExt cx="518" cy="921"/>
              </a:xfrm>
            </p:grpSpPr>
            <p:sp>
              <p:nvSpPr>
                <p:cNvPr id="48" name="Rectangle 21"/>
                <p:cNvSpPr>
                  <a:spLocks noChangeArrowheads="1"/>
                </p:cNvSpPr>
                <p:nvPr/>
              </p:nvSpPr>
              <p:spPr bwMode="auto">
                <a:xfrm>
                  <a:off x="43" y="346"/>
                  <a:ext cx="432" cy="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a:cs typeface="Times New Roman" panose="02020603050405020304" pitchFamily="18" charset="0"/>
                    </a:rPr>
                    <a:t>1</a:t>
                  </a:r>
                </a:p>
                <a:p>
                  <a:pPr eaLnBrk="1" hangingPunct="1">
                    <a:spcBef>
                      <a:spcPct val="0"/>
                    </a:spcBef>
                    <a:buClrTx/>
                    <a:buFontTx/>
                    <a:buNone/>
                  </a:pPr>
                  <a:endParaRPr lang="en-US" altLang="en-US"/>
                </a:p>
              </p:txBody>
            </p:sp>
            <p:sp>
              <p:nvSpPr>
                <p:cNvPr id="49" name="Rectangle 22"/>
                <p:cNvSpPr>
                  <a:spLocks noChangeArrowheads="1"/>
                </p:cNvSpPr>
                <p:nvPr/>
              </p:nvSpPr>
              <p:spPr bwMode="auto">
                <a:xfrm>
                  <a:off x="0" y="346"/>
                  <a:ext cx="518" cy="92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14" name="Group 23"/>
              <p:cNvGrpSpPr>
                <a:grpSpLocks/>
              </p:cNvGrpSpPr>
              <p:nvPr/>
            </p:nvGrpSpPr>
            <p:grpSpPr bwMode="auto">
              <a:xfrm>
                <a:off x="518" y="346"/>
                <a:ext cx="806" cy="921"/>
                <a:chOff x="518" y="346"/>
                <a:chExt cx="806" cy="921"/>
              </a:xfrm>
            </p:grpSpPr>
            <p:sp>
              <p:nvSpPr>
                <p:cNvPr id="45" name="Rectangle 24"/>
                <p:cNvSpPr>
                  <a:spLocks noChangeArrowheads="1"/>
                </p:cNvSpPr>
                <p:nvPr/>
              </p:nvSpPr>
              <p:spPr bwMode="auto">
                <a:xfrm>
                  <a:off x="561" y="346"/>
                  <a:ext cx="720" cy="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a:cs typeface="Times New Roman" panose="02020603050405020304" pitchFamily="18" charset="0"/>
                    </a:rPr>
                    <a:t>DECLARE</a:t>
                  </a:r>
                </a:p>
                <a:p>
                  <a:pPr eaLnBrk="1" hangingPunct="1">
                    <a:spcBef>
                      <a:spcPct val="0"/>
                    </a:spcBef>
                    <a:buClrTx/>
                    <a:buFontTx/>
                    <a:buNone/>
                  </a:pPr>
                  <a:endParaRPr lang="en-US" altLang="en-US"/>
                </a:p>
              </p:txBody>
            </p:sp>
            <p:sp>
              <p:nvSpPr>
                <p:cNvPr id="46" name="Rectangle 25"/>
                <p:cNvSpPr>
                  <a:spLocks noChangeArrowheads="1"/>
                </p:cNvSpPr>
                <p:nvPr/>
              </p:nvSpPr>
              <p:spPr bwMode="auto">
                <a:xfrm>
                  <a:off x="518" y="346"/>
                  <a:ext cx="806" cy="92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15" name="Group 26"/>
              <p:cNvGrpSpPr>
                <a:grpSpLocks/>
              </p:cNvGrpSpPr>
              <p:nvPr/>
            </p:nvGrpSpPr>
            <p:grpSpPr bwMode="auto">
              <a:xfrm>
                <a:off x="1324" y="346"/>
                <a:ext cx="1742" cy="921"/>
                <a:chOff x="1324" y="346"/>
                <a:chExt cx="1742" cy="921"/>
              </a:xfrm>
            </p:grpSpPr>
            <p:sp>
              <p:nvSpPr>
                <p:cNvPr id="43" name="Rectangle 27"/>
                <p:cNvSpPr>
                  <a:spLocks noChangeArrowheads="1"/>
                </p:cNvSpPr>
                <p:nvPr/>
              </p:nvSpPr>
              <p:spPr bwMode="auto">
                <a:xfrm>
                  <a:off x="1367" y="346"/>
                  <a:ext cx="1656" cy="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1400">
                      <a:cs typeface="Times New Roman" panose="02020603050405020304" pitchFamily="18" charset="0"/>
                    </a:rPr>
                    <a:t>Creates a named cursor identified by a SELECT statement. The SELECT statement does not include an INTO clause. Values in the cursor are moved to PL/SQL variables with the FETCH step.</a:t>
                  </a:r>
                </a:p>
                <a:p>
                  <a:pPr eaLnBrk="1" hangingPunct="1">
                    <a:spcBef>
                      <a:spcPct val="0"/>
                    </a:spcBef>
                    <a:buClrTx/>
                    <a:buFontTx/>
                    <a:buNone/>
                  </a:pPr>
                  <a:endParaRPr lang="en-US" altLang="en-US" sz="1400"/>
                </a:p>
              </p:txBody>
            </p:sp>
            <p:sp>
              <p:nvSpPr>
                <p:cNvPr id="44" name="Rectangle 28"/>
                <p:cNvSpPr>
                  <a:spLocks noChangeArrowheads="1"/>
                </p:cNvSpPr>
                <p:nvPr/>
              </p:nvSpPr>
              <p:spPr bwMode="auto">
                <a:xfrm>
                  <a:off x="1324" y="346"/>
                  <a:ext cx="1742" cy="92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16" name="Group 29"/>
              <p:cNvGrpSpPr>
                <a:grpSpLocks/>
              </p:cNvGrpSpPr>
              <p:nvPr/>
            </p:nvGrpSpPr>
            <p:grpSpPr bwMode="auto">
              <a:xfrm>
                <a:off x="0" y="1267"/>
                <a:ext cx="518" cy="576"/>
                <a:chOff x="0" y="1267"/>
                <a:chExt cx="518" cy="576"/>
              </a:xfrm>
            </p:grpSpPr>
            <p:sp>
              <p:nvSpPr>
                <p:cNvPr id="41" name="Rectangle 30"/>
                <p:cNvSpPr>
                  <a:spLocks noChangeArrowheads="1"/>
                </p:cNvSpPr>
                <p:nvPr/>
              </p:nvSpPr>
              <p:spPr bwMode="auto">
                <a:xfrm>
                  <a:off x="43" y="1267"/>
                  <a:ext cx="432"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a:cs typeface="Times New Roman" panose="02020603050405020304" pitchFamily="18" charset="0"/>
                    </a:rPr>
                    <a:t>2</a:t>
                  </a:r>
                </a:p>
                <a:p>
                  <a:pPr eaLnBrk="1" hangingPunct="1">
                    <a:spcBef>
                      <a:spcPct val="0"/>
                    </a:spcBef>
                    <a:buClrTx/>
                    <a:buFontTx/>
                    <a:buNone/>
                  </a:pPr>
                  <a:endParaRPr lang="en-US" altLang="en-US"/>
                </a:p>
              </p:txBody>
            </p:sp>
            <p:sp>
              <p:nvSpPr>
                <p:cNvPr id="42" name="Rectangle 31"/>
                <p:cNvSpPr>
                  <a:spLocks noChangeArrowheads="1"/>
                </p:cNvSpPr>
                <p:nvPr/>
              </p:nvSpPr>
              <p:spPr bwMode="auto">
                <a:xfrm>
                  <a:off x="0" y="1267"/>
                  <a:ext cx="518" cy="57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17" name="Group 32"/>
              <p:cNvGrpSpPr>
                <a:grpSpLocks/>
              </p:cNvGrpSpPr>
              <p:nvPr/>
            </p:nvGrpSpPr>
            <p:grpSpPr bwMode="auto">
              <a:xfrm>
                <a:off x="518" y="1267"/>
                <a:ext cx="806" cy="576"/>
                <a:chOff x="518" y="1267"/>
                <a:chExt cx="806" cy="576"/>
              </a:xfrm>
            </p:grpSpPr>
            <p:sp>
              <p:nvSpPr>
                <p:cNvPr id="39" name="Rectangle 33"/>
                <p:cNvSpPr>
                  <a:spLocks noChangeArrowheads="1"/>
                </p:cNvSpPr>
                <p:nvPr/>
              </p:nvSpPr>
              <p:spPr bwMode="auto">
                <a:xfrm>
                  <a:off x="561" y="1267"/>
                  <a:ext cx="72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a:cs typeface="Times New Roman" panose="02020603050405020304" pitchFamily="18" charset="0"/>
                    </a:rPr>
                    <a:t>OPEN</a:t>
                  </a:r>
                </a:p>
                <a:p>
                  <a:pPr eaLnBrk="1" hangingPunct="1">
                    <a:spcBef>
                      <a:spcPct val="0"/>
                    </a:spcBef>
                    <a:buClrTx/>
                    <a:buFontTx/>
                    <a:buNone/>
                  </a:pPr>
                  <a:endParaRPr lang="en-US" altLang="en-US"/>
                </a:p>
              </p:txBody>
            </p:sp>
            <p:sp>
              <p:nvSpPr>
                <p:cNvPr id="40" name="Rectangle 34"/>
                <p:cNvSpPr>
                  <a:spLocks noChangeArrowheads="1"/>
                </p:cNvSpPr>
                <p:nvPr/>
              </p:nvSpPr>
              <p:spPr bwMode="auto">
                <a:xfrm>
                  <a:off x="518" y="1267"/>
                  <a:ext cx="806" cy="57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18" name="Group 35"/>
              <p:cNvGrpSpPr>
                <a:grpSpLocks/>
              </p:cNvGrpSpPr>
              <p:nvPr/>
            </p:nvGrpSpPr>
            <p:grpSpPr bwMode="auto">
              <a:xfrm>
                <a:off x="1324" y="1267"/>
                <a:ext cx="1742" cy="576"/>
                <a:chOff x="1324" y="1267"/>
                <a:chExt cx="1742" cy="576"/>
              </a:xfrm>
            </p:grpSpPr>
            <p:sp>
              <p:nvSpPr>
                <p:cNvPr id="37" name="Rectangle 36"/>
                <p:cNvSpPr>
                  <a:spLocks noChangeArrowheads="1"/>
                </p:cNvSpPr>
                <p:nvPr/>
              </p:nvSpPr>
              <p:spPr bwMode="auto">
                <a:xfrm>
                  <a:off x="1367" y="1267"/>
                  <a:ext cx="1656"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1400">
                      <a:cs typeface="Times New Roman" panose="02020603050405020304" pitchFamily="18" charset="0"/>
                    </a:rPr>
                    <a:t>Processes the query and creates the active set of rows available in the cursor.</a:t>
                  </a:r>
                </a:p>
                <a:p>
                  <a:pPr eaLnBrk="1" hangingPunct="1">
                    <a:spcBef>
                      <a:spcPct val="0"/>
                    </a:spcBef>
                    <a:buClrTx/>
                    <a:buFontTx/>
                    <a:buNone/>
                  </a:pPr>
                  <a:endParaRPr lang="en-US" altLang="en-US"/>
                </a:p>
              </p:txBody>
            </p:sp>
            <p:sp>
              <p:nvSpPr>
                <p:cNvPr id="38" name="Rectangle 37"/>
                <p:cNvSpPr>
                  <a:spLocks noChangeArrowheads="1"/>
                </p:cNvSpPr>
                <p:nvPr/>
              </p:nvSpPr>
              <p:spPr bwMode="auto">
                <a:xfrm>
                  <a:off x="1324" y="1267"/>
                  <a:ext cx="1742" cy="57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19" name="Group 38"/>
              <p:cNvGrpSpPr>
                <a:grpSpLocks/>
              </p:cNvGrpSpPr>
              <p:nvPr/>
            </p:nvGrpSpPr>
            <p:grpSpPr bwMode="auto">
              <a:xfrm>
                <a:off x="0" y="1843"/>
                <a:ext cx="518" cy="806"/>
                <a:chOff x="0" y="1843"/>
                <a:chExt cx="518" cy="806"/>
              </a:xfrm>
            </p:grpSpPr>
            <p:sp>
              <p:nvSpPr>
                <p:cNvPr id="35" name="Rectangle 39"/>
                <p:cNvSpPr>
                  <a:spLocks noChangeArrowheads="1"/>
                </p:cNvSpPr>
                <p:nvPr/>
              </p:nvSpPr>
              <p:spPr bwMode="auto">
                <a:xfrm>
                  <a:off x="43" y="1843"/>
                  <a:ext cx="432" cy="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a:cs typeface="Times New Roman" panose="02020603050405020304" pitchFamily="18" charset="0"/>
                    </a:rPr>
                    <a:t>3</a:t>
                  </a:r>
                </a:p>
                <a:p>
                  <a:pPr eaLnBrk="1" hangingPunct="1">
                    <a:spcBef>
                      <a:spcPct val="0"/>
                    </a:spcBef>
                    <a:buClrTx/>
                    <a:buFontTx/>
                    <a:buNone/>
                  </a:pPr>
                  <a:endParaRPr lang="en-US" altLang="en-US"/>
                </a:p>
              </p:txBody>
            </p:sp>
            <p:sp>
              <p:nvSpPr>
                <p:cNvPr id="36" name="Rectangle 40"/>
                <p:cNvSpPr>
                  <a:spLocks noChangeArrowheads="1"/>
                </p:cNvSpPr>
                <p:nvPr/>
              </p:nvSpPr>
              <p:spPr bwMode="auto">
                <a:xfrm>
                  <a:off x="0" y="1843"/>
                  <a:ext cx="518" cy="80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20" name="Group 41"/>
              <p:cNvGrpSpPr>
                <a:grpSpLocks/>
              </p:cNvGrpSpPr>
              <p:nvPr/>
            </p:nvGrpSpPr>
            <p:grpSpPr bwMode="auto">
              <a:xfrm>
                <a:off x="518" y="1843"/>
                <a:ext cx="806" cy="806"/>
                <a:chOff x="518" y="1843"/>
                <a:chExt cx="806" cy="806"/>
              </a:xfrm>
            </p:grpSpPr>
            <p:sp>
              <p:nvSpPr>
                <p:cNvPr id="33" name="Rectangle 42"/>
                <p:cNvSpPr>
                  <a:spLocks noChangeArrowheads="1"/>
                </p:cNvSpPr>
                <p:nvPr/>
              </p:nvSpPr>
              <p:spPr bwMode="auto">
                <a:xfrm>
                  <a:off x="561" y="1843"/>
                  <a:ext cx="720" cy="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a:cs typeface="Times New Roman" panose="02020603050405020304" pitchFamily="18" charset="0"/>
                    </a:rPr>
                    <a:t>FETCH</a:t>
                  </a:r>
                </a:p>
                <a:p>
                  <a:pPr eaLnBrk="1" hangingPunct="1">
                    <a:spcBef>
                      <a:spcPct val="0"/>
                    </a:spcBef>
                    <a:buClrTx/>
                    <a:buFontTx/>
                    <a:buNone/>
                  </a:pPr>
                  <a:endParaRPr lang="en-US" altLang="en-US"/>
                </a:p>
              </p:txBody>
            </p:sp>
            <p:sp>
              <p:nvSpPr>
                <p:cNvPr id="34" name="Rectangle 43"/>
                <p:cNvSpPr>
                  <a:spLocks noChangeArrowheads="1"/>
                </p:cNvSpPr>
                <p:nvPr/>
              </p:nvSpPr>
              <p:spPr bwMode="auto">
                <a:xfrm>
                  <a:off x="518" y="1843"/>
                  <a:ext cx="806" cy="80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21" name="Group 44"/>
              <p:cNvGrpSpPr>
                <a:grpSpLocks/>
              </p:cNvGrpSpPr>
              <p:nvPr/>
            </p:nvGrpSpPr>
            <p:grpSpPr bwMode="auto">
              <a:xfrm>
                <a:off x="1324" y="1843"/>
                <a:ext cx="1742" cy="806"/>
                <a:chOff x="1324" y="1843"/>
                <a:chExt cx="1742" cy="806"/>
              </a:xfrm>
            </p:grpSpPr>
            <p:sp>
              <p:nvSpPr>
                <p:cNvPr id="31" name="Rectangle 45"/>
                <p:cNvSpPr>
                  <a:spLocks noChangeArrowheads="1"/>
                </p:cNvSpPr>
                <p:nvPr/>
              </p:nvSpPr>
              <p:spPr bwMode="auto">
                <a:xfrm>
                  <a:off x="1367" y="1843"/>
                  <a:ext cx="1656" cy="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1400">
                      <a:cs typeface="Times New Roman" panose="02020603050405020304" pitchFamily="18" charset="0"/>
                    </a:rPr>
                    <a:t>Retrieves a row from the cursor into block variables. Each consecutive FETCH issued will retrieve the next row in the cursor until all rows have been retrieved.  </a:t>
                  </a:r>
                </a:p>
                <a:p>
                  <a:pPr eaLnBrk="1" hangingPunct="1">
                    <a:spcBef>
                      <a:spcPct val="0"/>
                    </a:spcBef>
                    <a:buClrTx/>
                    <a:buFontTx/>
                    <a:buNone/>
                  </a:pPr>
                  <a:endParaRPr lang="en-US" altLang="en-US" sz="1400"/>
                </a:p>
              </p:txBody>
            </p:sp>
            <p:sp>
              <p:nvSpPr>
                <p:cNvPr id="32" name="Rectangle 46"/>
                <p:cNvSpPr>
                  <a:spLocks noChangeArrowheads="1"/>
                </p:cNvSpPr>
                <p:nvPr/>
              </p:nvSpPr>
              <p:spPr bwMode="auto">
                <a:xfrm>
                  <a:off x="1324" y="1843"/>
                  <a:ext cx="1742" cy="80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22" name="Group 47"/>
              <p:cNvGrpSpPr>
                <a:grpSpLocks/>
              </p:cNvGrpSpPr>
              <p:nvPr/>
            </p:nvGrpSpPr>
            <p:grpSpPr bwMode="auto">
              <a:xfrm>
                <a:off x="0" y="2649"/>
                <a:ext cx="518" cy="576"/>
                <a:chOff x="0" y="2649"/>
                <a:chExt cx="518" cy="576"/>
              </a:xfrm>
            </p:grpSpPr>
            <p:sp>
              <p:nvSpPr>
                <p:cNvPr id="29" name="Rectangle 48"/>
                <p:cNvSpPr>
                  <a:spLocks noChangeArrowheads="1"/>
                </p:cNvSpPr>
                <p:nvPr/>
              </p:nvSpPr>
              <p:spPr bwMode="auto">
                <a:xfrm>
                  <a:off x="43" y="2649"/>
                  <a:ext cx="432"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a:cs typeface="Times New Roman" panose="02020603050405020304" pitchFamily="18" charset="0"/>
                    </a:rPr>
                    <a:t>4</a:t>
                  </a:r>
                </a:p>
                <a:p>
                  <a:pPr eaLnBrk="1" hangingPunct="1">
                    <a:spcBef>
                      <a:spcPct val="0"/>
                    </a:spcBef>
                    <a:buClrTx/>
                    <a:buFontTx/>
                    <a:buNone/>
                  </a:pPr>
                  <a:endParaRPr lang="en-US" altLang="en-US"/>
                </a:p>
              </p:txBody>
            </p:sp>
            <p:sp>
              <p:nvSpPr>
                <p:cNvPr id="30" name="Rectangle 49"/>
                <p:cNvSpPr>
                  <a:spLocks noChangeArrowheads="1"/>
                </p:cNvSpPr>
                <p:nvPr/>
              </p:nvSpPr>
              <p:spPr bwMode="auto">
                <a:xfrm>
                  <a:off x="0" y="2649"/>
                  <a:ext cx="518" cy="57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23" name="Group 50"/>
              <p:cNvGrpSpPr>
                <a:grpSpLocks/>
              </p:cNvGrpSpPr>
              <p:nvPr/>
            </p:nvGrpSpPr>
            <p:grpSpPr bwMode="auto">
              <a:xfrm>
                <a:off x="518" y="2649"/>
                <a:ext cx="806" cy="576"/>
                <a:chOff x="518" y="2649"/>
                <a:chExt cx="806" cy="576"/>
              </a:xfrm>
            </p:grpSpPr>
            <p:sp>
              <p:nvSpPr>
                <p:cNvPr id="27" name="Rectangle 51"/>
                <p:cNvSpPr>
                  <a:spLocks noChangeArrowheads="1"/>
                </p:cNvSpPr>
                <p:nvPr/>
              </p:nvSpPr>
              <p:spPr bwMode="auto">
                <a:xfrm>
                  <a:off x="561" y="2649"/>
                  <a:ext cx="72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a:cs typeface="Times New Roman" panose="02020603050405020304" pitchFamily="18" charset="0"/>
                    </a:rPr>
                    <a:t>CLOSE</a:t>
                  </a:r>
                </a:p>
                <a:p>
                  <a:pPr eaLnBrk="1" hangingPunct="1">
                    <a:spcBef>
                      <a:spcPct val="0"/>
                    </a:spcBef>
                    <a:buClrTx/>
                    <a:buFontTx/>
                    <a:buNone/>
                  </a:pPr>
                  <a:endParaRPr lang="en-US" altLang="en-US"/>
                </a:p>
              </p:txBody>
            </p:sp>
            <p:sp>
              <p:nvSpPr>
                <p:cNvPr id="28" name="Rectangle 52"/>
                <p:cNvSpPr>
                  <a:spLocks noChangeArrowheads="1"/>
                </p:cNvSpPr>
                <p:nvPr/>
              </p:nvSpPr>
              <p:spPr bwMode="auto">
                <a:xfrm>
                  <a:off x="518" y="2649"/>
                  <a:ext cx="806" cy="57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24" name="Group 53"/>
              <p:cNvGrpSpPr>
                <a:grpSpLocks/>
              </p:cNvGrpSpPr>
              <p:nvPr/>
            </p:nvGrpSpPr>
            <p:grpSpPr bwMode="auto">
              <a:xfrm>
                <a:off x="1324" y="2649"/>
                <a:ext cx="1742" cy="576"/>
                <a:chOff x="1324" y="2649"/>
                <a:chExt cx="1742" cy="576"/>
              </a:xfrm>
            </p:grpSpPr>
            <p:sp>
              <p:nvSpPr>
                <p:cNvPr id="25" name="Rectangle 54"/>
                <p:cNvSpPr>
                  <a:spLocks noChangeArrowheads="1"/>
                </p:cNvSpPr>
                <p:nvPr/>
              </p:nvSpPr>
              <p:spPr bwMode="auto">
                <a:xfrm>
                  <a:off x="1367" y="2649"/>
                  <a:ext cx="1656"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1400">
                      <a:cs typeface="Times New Roman" panose="02020603050405020304" pitchFamily="18" charset="0"/>
                    </a:rPr>
                    <a:t>Clears the active set of rows and frees the memory area used for the cursor.</a:t>
                  </a:r>
                </a:p>
                <a:p>
                  <a:pPr eaLnBrk="1" hangingPunct="1">
                    <a:spcBef>
                      <a:spcPct val="0"/>
                    </a:spcBef>
                    <a:buClrTx/>
                    <a:buFontTx/>
                    <a:buNone/>
                  </a:pPr>
                  <a:endParaRPr lang="en-US" altLang="en-US" sz="1400"/>
                </a:p>
              </p:txBody>
            </p:sp>
            <p:sp>
              <p:nvSpPr>
                <p:cNvPr id="26" name="Rectangle 55"/>
                <p:cNvSpPr>
                  <a:spLocks noChangeArrowheads="1"/>
                </p:cNvSpPr>
                <p:nvPr/>
              </p:nvSpPr>
              <p:spPr bwMode="auto">
                <a:xfrm>
                  <a:off x="1324" y="2649"/>
                  <a:ext cx="1742" cy="57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sp>
          <p:nvSpPr>
            <p:cNvPr id="9" name="Rectangle 56"/>
            <p:cNvSpPr>
              <a:spLocks noChangeArrowheads="1"/>
            </p:cNvSpPr>
            <p:nvPr/>
          </p:nvSpPr>
          <p:spPr bwMode="auto">
            <a:xfrm>
              <a:off x="-3" y="-3"/>
              <a:ext cx="3072" cy="3231"/>
            </a:xfrm>
            <a:prstGeom prst="rect">
              <a:avLst/>
            </a:prstGeom>
            <a:noFill/>
            <a:ln w="9525">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spTree>
    <p:extLst>
      <p:ext uri="{BB962C8B-B14F-4D97-AF65-F5344CB8AC3E}">
        <p14:creationId xmlns:p14="http://schemas.microsoft.com/office/powerpoint/2010/main" val="342927057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a:spLocks noGrp="1"/>
          </p:cNvSpPr>
          <p:nvPr>
            <p:ph idx="1"/>
          </p:nvPr>
        </p:nvSpPr>
        <p:spPr>
          <a:xfrm>
            <a:off x="298450" y="1495425"/>
            <a:ext cx="8845550" cy="4643438"/>
          </a:xfrm>
        </p:spPr>
        <p:txBody>
          <a:bodyPr/>
          <a:lstStyle/>
          <a:p>
            <a:endParaRPr lang="en-US" altLang="en-US" dirty="0" smtClean="0"/>
          </a:p>
        </p:txBody>
      </p:sp>
      <p:sp>
        <p:nvSpPr>
          <p:cNvPr id="6" name="Title 4"/>
          <p:cNvSpPr txBox="1">
            <a:spLocks/>
          </p:cNvSpPr>
          <p:nvPr/>
        </p:nvSpPr>
        <p:spPr bwMode="black">
          <a:xfrm>
            <a:off x="152400" y="228600"/>
            <a:ext cx="7564438"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252000" rIns="72000" bIns="36000" anchor="ctr"/>
          <a:lstStyle>
            <a:lvl1pPr marL="917575" indent="-3175">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917575" indent="-3175">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917575" indent="-3175">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917575" indent="-3175">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917575" indent="-3175">
              <a:spcBef>
                <a:spcPct val="20000"/>
              </a:spcBef>
              <a:buFont typeface="Arial" panose="020B0604020202020204" pitchFamily="34" charset="0"/>
              <a:buChar char="»"/>
              <a:defRPr sz="1600">
                <a:solidFill>
                  <a:schemeClr val="tx1"/>
                </a:solidFill>
                <a:latin typeface="Arial" panose="020B0604020202020204" pitchFamily="34" charset="0"/>
              </a:defRPr>
            </a:lvl5pPr>
            <a:lvl6pPr marL="1374775" indent="-3175"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1831975" indent="-3175"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2289175" indent="-3175"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2746375" indent="-3175"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algn="ctr" eaLnBrk="1" hangingPunct="1">
              <a:lnSpc>
                <a:spcPct val="90000"/>
              </a:lnSpc>
              <a:spcBef>
                <a:spcPct val="0"/>
              </a:spcBef>
              <a:buClrTx/>
              <a:buFontTx/>
              <a:buNone/>
            </a:pPr>
            <a:r>
              <a:rPr lang="en-US" altLang="en-US" sz="2600" b="1" dirty="0">
                <a:latin typeface="Arial Narrow" panose="020B0606020202030204" pitchFamily="34" charset="0"/>
              </a:rPr>
              <a:t>Explicit Cursor Example</a:t>
            </a:r>
          </a:p>
        </p:txBody>
      </p:sp>
      <p:pic>
        <p:nvPicPr>
          <p:cNvPr id="7" name="Picture 3" descr="ppt21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6944" y="1495425"/>
            <a:ext cx="8001000" cy="471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9793752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Content Placeholder 5"/>
          <p:cNvSpPr>
            <a:spLocks noGrp="1"/>
          </p:cNvSpPr>
          <p:nvPr>
            <p:ph idx="4294967295"/>
          </p:nvPr>
        </p:nvSpPr>
        <p:spPr>
          <a:xfrm>
            <a:off x="342991" y="1130060"/>
            <a:ext cx="8662987" cy="3579962"/>
          </a:xfrm>
        </p:spPr>
        <p:txBody>
          <a:bodyPr/>
          <a:lstStyle/>
          <a:p>
            <a:pPr marL="0" indent="0">
              <a:buNone/>
            </a:pPr>
            <a:endParaRPr lang="en-US" altLang="en-US" dirty="0" smtClean="0"/>
          </a:p>
          <a:p>
            <a:r>
              <a:rPr lang="en-US" altLang="en-US" dirty="0" smtClean="0"/>
              <a:t>Handles tasks automatically for processing each row returned by a cursor (record declaration, fetch, ending loop)</a:t>
            </a:r>
          </a:p>
          <a:p>
            <a:pPr>
              <a:buFont typeface="Wingdings" panose="05000000000000000000" pitchFamily="2" charset="2"/>
              <a:buNone/>
            </a:pPr>
            <a:endParaRPr lang="en-US" altLang="en-US" dirty="0" smtClean="0"/>
          </a:p>
          <a:p>
            <a:r>
              <a:rPr lang="en-US" altLang="en-US" dirty="0" smtClean="0"/>
              <a:t>Use FOR UPDATE and WHERE CURRENT OF clauses for record locking</a:t>
            </a:r>
          </a:p>
        </p:txBody>
      </p:sp>
      <p:sp>
        <p:nvSpPr>
          <p:cNvPr id="50" name="Title 4"/>
          <p:cNvSpPr>
            <a:spLocks noGrp="1"/>
          </p:cNvSpPr>
          <p:nvPr>
            <p:ph type="title" idx="4294967295"/>
          </p:nvPr>
        </p:nvSpPr>
        <p:spPr>
          <a:xfrm>
            <a:off x="0" y="139700"/>
            <a:ext cx="7564438" cy="669925"/>
          </a:xfrm>
        </p:spPr>
        <p:txBody>
          <a:bodyPr/>
          <a:lstStyle/>
          <a:p>
            <a:pPr eaLnBrk="1" hangingPunct="1"/>
            <a:r>
              <a:rPr altLang="en-US" dirty="0" smtClean="0">
                <a:solidFill>
                  <a:schemeClr val="tx1"/>
                </a:solidFill>
              </a:rPr>
              <a:t>Cursor FOR LOOP</a:t>
            </a:r>
          </a:p>
        </p:txBody>
      </p:sp>
    </p:spTree>
    <p:extLst>
      <p:ext uri="{BB962C8B-B14F-4D97-AF65-F5344CB8AC3E}">
        <p14:creationId xmlns:p14="http://schemas.microsoft.com/office/powerpoint/2010/main" val="284668483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 name="Content Placeholder 5"/>
          <p:cNvSpPr>
            <a:spLocks noGrp="1"/>
          </p:cNvSpPr>
          <p:nvPr>
            <p:ph idx="4294967295"/>
          </p:nvPr>
        </p:nvSpPr>
        <p:spPr>
          <a:xfrm>
            <a:off x="481013" y="1020793"/>
            <a:ext cx="8662987" cy="4956175"/>
          </a:xfrm>
        </p:spPr>
        <p:txBody>
          <a:bodyPr/>
          <a:lstStyle/>
          <a:p>
            <a:pPr>
              <a:buFont typeface="Wingdings" panose="05000000000000000000" pitchFamily="2" charset="2"/>
              <a:buNone/>
            </a:pPr>
            <a:endParaRPr lang="en-US" altLang="en-US" sz="1200" dirty="0" smtClean="0"/>
          </a:p>
          <a:p>
            <a:pPr eaLnBrk="1" hangingPunct="1"/>
            <a:r>
              <a:rPr lang="en-US" altLang="en-US" sz="1200" dirty="0" smtClean="0">
                <a:latin typeface="Courier New" panose="02070309020205020404" pitchFamily="49" charset="0"/>
                <a:cs typeface="Courier New" panose="02070309020205020404" pitchFamily="49" charset="0"/>
              </a:rPr>
              <a:t>DECLARE</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CURSOR cur_prod IS</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SELECT type, price</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FROM bb_product</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WHERE active = 1</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a:t>
            </a:r>
            <a:r>
              <a:rPr lang="en-US" altLang="en-US" sz="1200" b="1" dirty="0" smtClean="0">
                <a:latin typeface="Courier New" panose="02070309020205020404" pitchFamily="49" charset="0"/>
                <a:cs typeface="Courier New" panose="02070309020205020404" pitchFamily="49" charset="0"/>
              </a:rPr>
              <a:t>FOR UPDATE </a:t>
            </a:r>
            <a:r>
              <a:rPr lang="en-US" altLang="en-US" sz="1200" dirty="0" smtClean="0">
                <a:latin typeface="Courier New" panose="02070309020205020404" pitchFamily="49" charset="0"/>
                <a:cs typeface="Courier New" panose="02070309020205020404" pitchFamily="49" charset="0"/>
              </a:rPr>
              <a:t>NOWAIT;</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lv_sale bb_product.saleprice%TYPE;</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BEGIN</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a:t>
            </a:r>
            <a:r>
              <a:rPr lang="en-US" altLang="en-US" sz="1200" b="1" dirty="0" smtClean="0">
                <a:latin typeface="Courier New" panose="02070309020205020404" pitchFamily="49" charset="0"/>
                <a:cs typeface="Courier New" panose="02070309020205020404" pitchFamily="49" charset="0"/>
              </a:rPr>
              <a:t>FOR rec_prod IN cur_prod LOOP</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IF rec_prod.type = 'C' THEN lv_sale :=</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rec_prod.price * .9;</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END IF;</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IF rec_prod.type = 'E' THEN lv_sale := </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rec_prod.price * .95;</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END IF;</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UPDATE bb_product</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SET saleprice = lv_sale</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a:t>
            </a:r>
            <a:r>
              <a:rPr lang="en-US" altLang="en-US" sz="1200" b="1" dirty="0" smtClean="0">
                <a:latin typeface="Courier New" panose="02070309020205020404" pitchFamily="49" charset="0"/>
                <a:cs typeface="Courier New" panose="02070309020205020404" pitchFamily="49" charset="0"/>
              </a:rPr>
              <a:t>WHERE CURRENT OF</a:t>
            </a:r>
            <a:r>
              <a:rPr lang="en-US" altLang="en-US" sz="1200" dirty="0" smtClean="0">
                <a:latin typeface="Courier New" panose="02070309020205020404" pitchFamily="49" charset="0"/>
                <a:cs typeface="Courier New" panose="02070309020205020404" pitchFamily="49" charset="0"/>
              </a:rPr>
              <a:t> cur_prod;</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END LOOP;</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COMMIT;</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END;</a:t>
            </a:r>
            <a:endParaRPr lang="en-US" altLang="en-US" sz="1200" dirty="0" smtClean="0"/>
          </a:p>
          <a:p>
            <a:endParaRPr lang="en-US" altLang="en-US" sz="1200" dirty="0" smtClean="0"/>
          </a:p>
        </p:txBody>
      </p:sp>
      <p:sp>
        <p:nvSpPr>
          <p:cNvPr id="216" name="Title 4"/>
          <p:cNvSpPr>
            <a:spLocks noGrp="1"/>
          </p:cNvSpPr>
          <p:nvPr>
            <p:ph type="title" idx="4294967295"/>
          </p:nvPr>
        </p:nvSpPr>
        <p:spPr>
          <a:xfrm>
            <a:off x="0" y="139700"/>
            <a:ext cx="7564438" cy="669925"/>
          </a:xfrm>
        </p:spPr>
        <p:txBody>
          <a:bodyPr/>
          <a:lstStyle/>
          <a:p>
            <a:pPr eaLnBrk="1" hangingPunct="1"/>
            <a:r>
              <a:rPr altLang="en-US" dirty="0" smtClean="0">
                <a:solidFill>
                  <a:schemeClr val="tx1"/>
                </a:solidFill>
              </a:rPr>
              <a:t>Cursor FOR LOOP Example</a:t>
            </a:r>
          </a:p>
        </p:txBody>
      </p:sp>
    </p:spTree>
    <p:extLst>
      <p:ext uri="{BB962C8B-B14F-4D97-AF65-F5344CB8AC3E}">
        <p14:creationId xmlns:p14="http://schemas.microsoft.com/office/powerpoint/2010/main" val="364823566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5"/>
          <p:cNvSpPr>
            <a:spLocks noGrp="1"/>
          </p:cNvSpPr>
          <p:nvPr>
            <p:ph idx="4294967295"/>
          </p:nvPr>
        </p:nvSpPr>
        <p:spPr>
          <a:xfrm>
            <a:off x="627662" y="606725"/>
            <a:ext cx="8662987" cy="4956175"/>
          </a:xfrm>
        </p:spPr>
        <p:txBody>
          <a:bodyPr/>
          <a:lstStyle/>
          <a:p>
            <a:pPr>
              <a:buFont typeface="Wingdings" panose="05000000000000000000" pitchFamily="2" charset="2"/>
              <a:buNone/>
            </a:pPr>
            <a:endParaRPr lang="en-US" altLang="en-US" sz="1200" dirty="0" smtClean="0"/>
          </a:p>
          <a:p>
            <a:pPr>
              <a:buFont typeface="Wingdings" panose="05000000000000000000" pitchFamily="2" charset="2"/>
              <a:buNone/>
            </a:pPr>
            <a:endParaRPr lang="en-US" altLang="en-US" sz="1200" dirty="0" smtClean="0"/>
          </a:p>
          <a:p>
            <a:r>
              <a:rPr lang="en-US" altLang="en-US" sz="1200" dirty="0" smtClean="0"/>
              <a:t>More efficiently handles data returned by query by returning a pointer to the work area rather than the actual result set.</a:t>
            </a:r>
          </a:p>
          <a:p>
            <a:pPr>
              <a:buFont typeface="Wingdings" panose="05000000000000000000" pitchFamily="2" charset="2"/>
              <a:buNone/>
            </a:pPr>
            <a:endParaRPr lang="en-US" altLang="en-US" sz="1200" dirty="0" smtClean="0"/>
          </a:p>
          <a:p>
            <a:r>
              <a:rPr lang="en-US" altLang="en-US" sz="1200" dirty="0" smtClean="0"/>
              <a:t>The same cursor variable can be used for different query statements.</a:t>
            </a:r>
          </a:p>
          <a:p>
            <a:endParaRPr lang="en-US" altLang="en-US" sz="1200" dirty="0" smtClean="0"/>
          </a:p>
          <a:p>
            <a:pPr lvl="1">
              <a:lnSpc>
                <a:spcPct val="90000"/>
              </a:lnSpc>
              <a:buFont typeface="Arial" panose="020B0604020202020204" pitchFamily="34" charset="0"/>
              <a:buNone/>
            </a:pPr>
            <a:r>
              <a:rPr lang="en-US" altLang="en-US" sz="1200" dirty="0" smtClean="0">
                <a:latin typeface="Courier New" panose="02070309020205020404" pitchFamily="49" charset="0"/>
                <a:cs typeface="Courier New" panose="02070309020205020404" pitchFamily="49" charset="0"/>
              </a:rPr>
              <a:t>DECLARE</a:t>
            </a:r>
            <a:endParaRPr lang="en-US" altLang="en-US" sz="1200" dirty="0" smtClean="0">
              <a:latin typeface="Courier New" panose="02070309020205020404" pitchFamily="49" charset="0"/>
              <a:cs typeface="Times New Roman" panose="02020603050405020304" pitchFamily="18" charset="0"/>
            </a:endParaRPr>
          </a:p>
          <a:p>
            <a:pPr lvl="1">
              <a:lnSpc>
                <a:spcPct val="90000"/>
              </a:lnSpc>
              <a:buFont typeface="Arial" panose="020B0604020202020204" pitchFamily="34" charset="0"/>
              <a:buNone/>
            </a:pPr>
            <a:r>
              <a:rPr lang="en-US" altLang="en-US" sz="1200" dirty="0" smtClean="0">
                <a:latin typeface="Courier New" panose="02070309020205020404" pitchFamily="49" charset="0"/>
                <a:cs typeface="Courier New" panose="02070309020205020404" pitchFamily="49" charset="0"/>
              </a:rPr>
              <a:t>   </a:t>
            </a:r>
            <a:r>
              <a:rPr lang="en-US" altLang="en-US" sz="1200" b="1" dirty="0" smtClean="0">
                <a:latin typeface="Courier New" panose="02070309020205020404" pitchFamily="49" charset="0"/>
                <a:cs typeface="Courier New" panose="02070309020205020404" pitchFamily="49" charset="0"/>
              </a:rPr>
              <a:t>TYPE type_curvar IS REF CURSOR</a:t>
            </a:r>
            <a:r>
              <a:rPr lang="en-US" altLang="en-US" sz="1200" dirty="0" smtClean="0">
                <a:latin typeface="Courier New" panose="02070309020205020404" pitchFamily="49" charset="0"/>
                <a:cs typeface="Courier New" panose="02070309020205020404" pitchFamily="49" charset="0"/>
              </a:rPr>
              <a:t>;</a:t>
            </a:r>
            <a:endParaRPr lang="en-US" altLang="en-US" sz="1200" dirty="0" smtClean="0">
              <a:latin typeface="Courier New" panose="02070309020205020404" pitchFamily="49" charset="0"/>
              <a:cs typeface="Times New Roman" panose="02020603050405020304" pitchFamily="18" charset="0"/>
            </a:endParaRPr>
          </a:p>
          <a:p>
            <a:pPr lvl="1">
              <a:lnSpc>
                <a:spcPct val="90000"/>
              </a:lnSpc>
              <a:buFont typeface="Arial" panose="020B0604020202020204" pitchFamily="34" charset="0"/>
              <a:buNone/>
            </a:pPr>
            <a:r>
              <a:rPr lang="en-US" altLang="en-US" sz="1200" dirty="0" smtClean="0">
                <a:latin typeface="Courier New" panose="02070309020205020404" pitchFamily="49" charset="0"/>
                <a:cs typeface="Courier New" panose="02070309020205020404" pitchFamily="49" charset="0"/>
              </a:rPr>
              <a:t>   </a:t>
            </a:r>
            <a:r>
              <a:rPr lang="en-US" altLang="en-US" sz="1200" b="1" dirty="0" smtClean="0">
                <a:latin typeface="Courier New" panose="02070309020205020404" pitchFamily="49" charset="0"/>
                <a:cs typeface="Courier New" panose="02070309020205020404" pitchFamily="49" charset="0"/>
              </a:rPr>
              <a:t>cv_prod type_curvar</a:t>
            </a:r>
            <a:r>
              <a:rPr lang="en-US" altLang="en-US" sz="1200" dirty="0" smtClean="0">
                <a:latin typeface="Courier New" panose="02070309020205020404" pitchFamily="49" charset="0"/>
                <a:cs typeface="Courier New" panose="02070309020205020404" pitchFamily="49" charset="0"/>
              </a:rPr>
              <a:t>;</a:t>
            </a:r>
            <a:endParaRPr lang="en-US" altLang="en-US" sz="1200" dirty="0" smtClean="0">
              <a:latin typeface="Courier New" panose="02070309020205020404" pitchFamily="49" charset="0"/>
              <a:cs typeface="Times New Roman" panose="02020603050405020304" pitchFamily="18" charset="0"/>
            </a:endParaRPr>
          </a:p>
          <a:p>
            <a:pPr lvl="1">
              <a:lnSpc>
                <a:spcPct val="90000"/>
              </a:lnSpc>
              <a:buFont typeface="Arial" panose="020B0604020202020204" pitchFamily="34" charset="0"/>
              <a:buNone/>
            </a:pPr>
            <a:r>
              <a:rPr lang="en-US" altLang="en-US" sz="1200" dirty="0" smtClean="0">
                <a:latin typeface="Courier New" panose="02070309020205020404" pitchFamily="49" charset="0"/>
                <a:cs typeface="Courier New" panose="02070309020205020404" pitchFamily="49" charset="0"/>
              </a:rPr>
              <a:t>   rec_coff  bb_coffee%ROWTYPE;</a:t>
            </a:r>
            <a:endParaRPr lang="en-US" altLang="en-US" sz="1200" dirty="0" smtClean="0">
              <a:latin typeface="Courier New" panose="02070309020205020404" pitchFamily="49" charset="0"/>
              <a:cs typeface="Times New Roman" panose="02020603050405020304" pitchFamily="18" charset="0"/>
            </a:endParaRPr>
          </a:p>
          <a:p>
            <a:pPr lvl="1">
              <a:lnSpc>
                <a:spcPct val="90000"/>
              </a:lnSpc>
              <a:buFont typeface="Arial" panose="020B0604020202020204" pitchFamily="34" charset="0"/>
              <a:buNone/>
            </a:pPr>
            <a:r>
              <a:rPr lang="en-US" altLang="en-US" sz="1200" dirty="0" smtClean="0">
                <a:latin typeface="Courier New" panose="02070309020205020404" pitchFamily="49" charset="0"/>
                <a:cs typeface="Courier New" panose="02070309020205020404" pitchFamily="49" charset="0"/>
              </a:rPr>
              <a:t>   rec_equip  bb_equip%ROWTYPE;</a:t>
            </a:r>
          </a:p>
          <a:p>
            <a:pPr lvl="1">
              <a:lnSpc>
                <a:spcPct val="90000"/>
              </a:lnSpc>
              <a:buFont typeface="Arial" panose="020B0604020202020204" pitchFamily="34" charset="0"/>
              <a:buNone/>
            </a:pPr>
            <a:r>
              <a:rPr lang="en-US" altLang="en-US" sz="1200" dirty="0" smtClean="0">
                <a:latin typeface="Courier New" panose="02070309020205020404" pitchFamily="49" charset="0"/>
                <a:cs typeface="Courier New" panose="02070309020205020404" pitchFamily="49" charset="0"/>
              </a:rPr>
              <a:t>   vv_value   VARCHAR2(1) := 1 ;</a:t>
            </a:r>
            <a:endParaRPr lang="en-US" altLang="en-US" sz="1200" dirty="0" smtClean="0">
              <a:latin typeface="Courier New" panose="02070309020205020404" pitchFamily="49" charset="0"/>
              <a:cs typeface="Times New Roman" panose="02020603050405020304" pitchFamily="18" charset="0"/>
            </a:endParaRPr>
          </a:p>
          <a:p>
            <a:pPr lvl="1">
              <a:lnSpc>
                <a:spcPct val="90000"/>
              </a:lnSpc>
              <a:buFont typeface="Arial" panose="020B0604020202020204" pitchFamily="34" charset="0"/>
              <a:buNone/>
            </a:pPr>
            <a:r>
              <a:rPr lang="en-US" altLang="en-US" sz="1200" dirty="0" smtClean="0">
                <a:latin typeface="Courier New" panose="02070309020205020404" pitchFamily="49" charset="0"/>
                <a:cs typeface="Courier New" panose="02070309020205020404" pitchFamily="49" charset="0"/>
              </a:rPr>
              <a:t>BEGIN</a:t>
            </a:r>
            <a:endParaRPr lang="en-US" altLang="en-US" sz="1200" dirty="0" smtClean="0">
              <a:latin typeface="Courier New" panose="02070309020205020404" pitchFamily="49" charset="0"/>
              <a:cs typeface="Times New Roman" panose="02020603050405020304" pitchFamily="18" charset="0"/>
            </a:endParaRPr>
          </a:p>
          <a:p>
            <a:pPr lvl="1">
              <a:lnSpc>
                <a:spcPct val="90000"/>
              </a:lnSpc>
              <a:buFont typeface="Arial" panose="020B0604020202020204" pitchFamily="34" charset="0"/>
              <a:buNone/>
            </a:pPr>
            <a:r>
              <a:rPr lang="en-US" altLang="en-US" sz="1200" dirty="0" smtClean="0">
                <a:latin typeface="Courier New" panose="02070309020205020404" pitchFamily="49" charset="0"/>
                <a:cs typeface="Courier New" panose="02070309020205020404" pitchFamily="49" charset="0"/>
              </a:rPr>
              <a:t>   </a:t>
            </a:r>
            <a:r>
              <a:rPr lang="en-US" altLang="en-US" sz="1200" b="1" dirty="0" smtClean="0">
                <a:latin typeface="Courier New" panose="02070309020205020404" pitchFamily="49" charset="0"/>
                <a:cs typeface="Courier New" panose="02070309020205020404" pitchFamily="49" charset="0"/>
              </a:rPr>
              <a:t>IF</a:t>
            </a:r>
            <a:r>
              <a:rPr lang="en-US" altLang="en-US" sz="1200" dirty="0" smtClean="0">
                <a:latin typeface="Courier New" panose="02070309020205020404" pitchFamily="49" charset="0"/>
                <a:cs typeface="Courier New" panose="02070309020205020404" pitchFamily="49" charset="0"/>
              </a:rPr>
              <a:t> vv_value = 1 THEN </a:t>
            </a:r>
            <a:endParaRPr lang="en-US" altLang="en-US" sz="1200" dirty="0" smtClean="0">
              <a:latin typeface="Courier New" panose="02070309020205020404" pitchFamily="49" charset="0"/>
              <a:cs typeface="Times New Roman" panose="02020603050405020304" pitchFamily="18" charset="0"/>
            </a:endParaRPr>
          </a:p>
          <a:p>
            <a:pPr lvl="1">
              <a:lnSpc>
                <a:spcPct val="90000"/>
              </a:lnSpc>
              <a:buFont typeface="Arial" panose="020B0604020202020204" pitchFamily="34" charset="0"/>
              <a:buNone/>
            </a:pPr>
            <a:r>
              <a:rPr lang="en-US" altLang="en-US" sz="1200" dirty="0" smtClean="0">
                <a:latin typeface="Courier New" panose="02070309020205020404" pitchFamily="49" charset="0"/>
                <a:cs typeface="Courier New" panose="02070309020205020404" pitchFamily="49" charset="0"/>
              </a:rPr>
              <a:t>     </a:t>
            </a:r>
            <a:r>
              <a:rPr lang="en-US" altLang="en-US" sz="1200" b="1" dirty="0" smtClean="0">
                <a:latin typeface="Courier New" panose="02070309020205020404" pitchFamily="49" charset="0"/>
                <a:cs typeface="Courier New" panose="02070309020205020404" pitchFamily="49" charset="0"/>
              </a:rPr>
              <a:t>OPEN cv_prod FOR SELECT * FROM bb_coffee</a:t>
            </a:r>
            <a:r>
              <a:rPr lang="en-US" altLang="en-US" sz="1200" dirty="0" smtClean="0">
                <a:latin typeface="Courier New" panose="02070309020205020404" pitchFamily="49" charset="0"/>
                <a:cs typeface="Courier New" panose="02070309020205020404" pitchFamily="49" charset="0"/>
              </a:rPr>
              <a:t>;</a:t>
            </a:r>
            <a:endParaRPr lang="en-US" altLang="en-US" sz="1200" dirty="0" smtClean="0">
              <a:latin typeface="Courier New" panose="02070309020205020404" pitchFamily="49" charset="0"/>
              <a:cs typeface="Times New Roman" panose="02020603050405020304" pitchFamily="18" charset="0"/>
            </a:endParaRPr>
          </a:p>
          <a:p>
            <a:pPr lvl="1">
              <a:lnSpc>
                <a:spcPct val="90000"/>
              </a:lnSpc>
              <a:buFont typeface="Arial" panose="020B0604020202020204" pitchFamily="34" charset="0"/>
              <a:buNone/>
            </a:pPr>
            <a:r>
              <a:rPr lang="en-US" altLang="en-US" sz="1200" dirty="0" smtClean="0">
                <a:latin typeface="Courier New" panose="02070309020205020404" pitchFamily="49" charset="0"/>
                <a:cs typeface="Courier New" panose="02070309020205020404" pitchFamily="49" charset="0"/>
              </a:rPr>
              <a:t>     </a:t>
            </a:r>
            <a:r>
              <a:rPr lang="en-US" altLang="en-US" sz="1200" b="1" dirty="0" smtClean="0">
                <a:latin typeface="Courier New" panose="02070309020205020404" pitchFamily="49" charset="0"/>
                <a:cs typeface="Courier New" panose="02070309020205020404" pitchFamily="49" charset="0"/>
              </a:rPr>
              <a:t>FETCH cv_prod INTO rec_coff</a:t>
            </a:r>
            <a:r>
              <a:rPr lang="en-US" altLang="en-US" sz="1200" dirty="0" smtClean="0">
                <a:latin typeface="Courier New" panose="02070309020205020404" pitchFamily="49" charset="0"/>
                <a:cs typeface="Courier New" panose="02070309020205020404" pitchFamily="49" charset="0"/>
              </a:rPr>
              <a:t>;</a:t>
            </a:r>
            <a:endParaRPr lang="en-US" altLang="en-US" sz="1200" dirty="0" smtClean="0">
              <a:latin typeface="Courier New" panose="02070309020205020404" pitchFamily="49" charset="0"/>
              <a:cs typeface="Times New Roman" panose="02020603050405020304" pitchFamily="18" charset="0"/>
            </a:endParaRPr>
          </a:p>
          <a:p>
            <a:pPr lvl="1">
              <a:lnSpc>
                <a:spcPct val="90000"/>
              </a:lnSpc>
              <a:buFont typeface="Arial" panose="020B0604020202020204" pitchFamily="34" charset="0"/>
              <a:buNone/>
            </a:pPr>
            <a:r>
              <a:rPr lang="en-US" altLang="en-US" sz="1200" dirty="0" smtClean="0">
                <a:latin typeface="Courier New" panose="02070309020205020404" pitchFamily="49" charset="0"/>
                <a:cs typeface="Courier New" panose="02070309020205020404" pitchFamily="49" charset="0"/>
              </a:rPr>
              <a:t>     </a:t>
            </a:r>
            <a:r>
              <a:rPr lang="en-US" altLang="en-US" sz="1200" b="1" dirty="0" smtClean="0">
                <a:latin typeface="Courier New" panose="02070309020205020404" pitchFamily="49" charset="0"/>
                <a:cs typeface="Courier New" panose="02070309020205020404" pitchFamily="49" charset="0"/>
              </a:rPr>
              <a:t>. . .</a:t>
            </a:r>
            <a:endParaRPr lang="en-US" altLang="en-US" sz="1200" dirty="0" smtClean="0">
              <a:latin typeface="Courier New" panose="02070309020205020404" pitchFamily="49" charset="0"/>
              <a:cs typeface="Times New Roman" panose="02020603050405020304" pitchFamily="18" charset="0"/>
            </a:endParaRPr>
          </a:p>
          <a:p>
            <a:pPr lvl="1">
              <a:lnSpc>
                <a:spcPct val="90000"/>
              </a:lnSpc>
              <a:buFont typeface="Arial" panose="020B0604020202020204" pitchFamily="34" charset="0"/>
              <a:buNone/>
            </a:pPr>
            <a:r>
              <a:rPr lang="en-US" altLang="en-US" sz="1200" dirty="0" smtClean="0">
                <a:latin typeface="Courier New" panose="02070309020205020404" pitchFamily="49" charset="0"/>
                <a:cs typeface="Courier New" panose="02070309020205020404" pitchFamily="49" charset="0"/>
              </a:rPr>
              <a:t>   END IF;</a:t>
            </a:r>
            <a:endParaRPr lang="en-US" altLang="en-US" sz="1200" dirty="0" smtClean="0">
              <a:latin typeface="Courier New" panose="02070309020205020404" pitchFamily="49" charset="0"/>
              <a:cs typeface="Times New Roman" panose="02020603050405020304" pitchFamily="18" charset="0"/>
            </a:endParaRPr>
          </a:p>
          <a:p>
            <a:pPr lvl="1">
              <a:lnSpc>
                <a:spcPct val="90000"/>
              </a:lnSpc>
              <a:buFont typeface="Arial" panose="020B0604020202020204" pitchFamily="34" charset="0"/>
              <a:buNone/>
            </a:pPr>
            <a:r>
              <a:rPr lang="en-US" altLang="en-US" sz="1200" dirty="0" smtClean="0">
                <a:latin typeface="Courier New" panose="02070309020205020404" pitchFamily="49" charset="0"/>
                <a:cs typeface="Times New Roman" panose="02020603050405020304" pitchFamily="18" charset="0"/>
              </a:rPr>
              <a:t>   </a:t>
            </a:r>
            <a:r>
              <a:rPr lang="en-US" altLang="en-US" sz="1200" b="1" dirty="0" smtClean="0">
                <a:latin typeface="Courier New" panose="02070309020205020404" pitchFamily="49" charset="0"/>
                <a:cs typeface="Courier New" panose="02070309020205020404" pitchFamily="49" charset="0"/>
              </a:rPr>
              <a:t>IF</a:t>
            </a:r>
            <a:r>
              <a:rPr lang="en-US" altLang="en-US" sz="1200" dirty="0" smtClean="0">
                <a:latin typeface="Courier New" panose="02070309020205020404" pitchFamily="49" charset="0"/>
                <a:cs typeface="Courier New" panose="02070309020205020404" pitchFamily="49" charset="0"/>
              </a:rPr>
              <a:t> vv_value = 2 THEN </a:t>
            </a:r>
            <a:endParaRPr lang="en-US" altLang="en-US" sz="1200" dirty="0" smtClean="0">
              <a:latin typeface="Courier New" panose="02070309020205020404" pitchFamily="49" charset="0"/>
              <a:cs typeface="Times New Roman" panose="02020603050405020304" pitchFamily="18" charset="0"/>
            </a:endParaRPr>
          </a:p>
          <a:p>
            <a:pPr lvl="1">
              <a:lnSpc>
                <a:spcPct val="90000"/>
              </a:lnSpc>
              <a:buFont typeface="Arial" panose="020B0604020202020204" pitchFamily="34" charset="0"/>
              <a:buNone/>
            </a:pPr>
            <a:r>
              <a:rPr lang="en-US" altLang="en-US" sz="1200" dirty="0" smtClean="0">
                <a:latin typeface="Courier New" panose="02070309020205020404" pitchFamily="49" charset="0"/>
                <a:cs typeface="Courier New" panose="02070309020205020404" pitchFamily="49" charset="0"/>
              </a:rPr>
              <a:t>     </a:t>
            </a:r>
            <a:r>
              <a:rPr lang="en-US" altLang="en-US" sz="1200" b="1" dirty="0" smtClean="0">
                <a:latin typeface="Courier New" panose="02070309020205020404" pitchFamily="49" charset="0"/>
                <a:cs typeface="Courier New" panose="02070309020205020404" pitchFamily="49" charset="0"/>
              </a:rPr>
              <a:t>OPEN cv_prod FOR SELECT * FROM </a:t>
            </a:r>
            <a:r>
              <a:rPr lang="en-US" altLang="en-US" sz="1200" b="1" dirty="0" err="1" smtClean="0">
                <a:latin typeface="Courier New" panose="02070309020205020404" pitchFamily="49" charset="0"/>
                <a:cs typeface="Courier New" panose="02070309020205020404" pitchFamily="49" charset="0"/>
              </a:rPr>
              <a:t>bb_equip</a:t>
            </a:r>
            <a:r>
              <a:rPr lang="en-US" altLang="en-US" sz="1200" b="1" dirty="0" smtClean="0">
                <a:latin typeface="Courier New" panose="02070309020205020404" pitchFamily="49" charset="0"/>
                <a:cs typeface="Courier New" panose="02070309020205020404" pitchFamily="49" charset="0"/>
              </a:rPr>
              <a:t>;</a:t>
            </a:r>
            <a:endParaRPr lang="en-US" altLang="en-US" sz="1200" b="1" dirty="0" smtClean="0">
              <a:latin typeface="Courier New" panose="02070309020205020404" pitchFamily="49" charset="0"/>
              <a:cs typeface="Times New Roman" panose="02020603050405020304" pitchFamily="18" charset="0"/>
            </a:endParaRPr>
          </a:p>
          <a:p>
            <a:pPr lvl="1">
              <a:lnSpc>
                <a:spcPct val="90000"/>
              </a:lnSpc>
              <a:buFont typeface="Arial" panose="020B0604020202020204" pitchFamily="34" charset="0"/>
              <a:buNone/>
            </a:pPr>
            <a:r>
              <a:rPr lang="en-US" altLang="en-US" sz="1200" b="1" dirty="0" smtClean="0">
                <a:latin typeface="Courier New" panose="02070309020205020404" pitchFamily="49" charset="0"/>
                <a:cs typeface="Courier New" panose="02070309020205020404" pitchFamily="49" charset="0"/>
              </a:rPr>
              <a:t>     FETCH cv_prod INTO rec_equip;</a:t>
            </a:r>
            <a:endParaRPr lang="en-US" altLang="en-US" sz="1200" b="1" dirty="0" smtClean="0">
              <a:latin typeface="Courier New" panose="02070309020205020404" pitchFamily="49" charset="0"/>
              <a:cs typeface="Times New Roman" panose="02020603050405020304" pitchFamily="18" charset="0"/>
            </a:endParaRPr>
          </a:p>
          <a:p>
            <a:pPr lvl="1">
              <a:lnSpc>
                <a:spcPct val="90000"/>
              </a:lnSpc>
              <a:buFont typeface="Arial" panose="020B0604020202020204" pitchFamily="34" charset="0"/>
              <a:buNone/>
            </a:pPr>
            <a:r>
              <a:rPr lang="en-US" altLang="en-US" sz="1200" dirty="0" smtClean="0">
                <a:latin typeface="Courier New" panose="02070309020205020404" pitchFamily="49" charset="0"/>
                <a:cs typeface="Courier New" panose="02070309020205020404" pitchFamily="49" charset="0"/>
              </a:rPr>
              <a:t>     </a:t>
            </a:r>
            <a:r>
              <a:rPr lang="en-US" altLang="en-US" sz="1200" b="1" dirty="0" smtClean="0">
                <a:latin typeface="Courier New" panose="02070309020205020404" pitchFamily="49" charset="0"/>
                <a:cs typeface="Courier New" panose="02070309020205020404" pitchFamily="49" charset="0"/>
              </a:rPr>
              <a:t>. . .</a:t>
            </a:r>
            <a:endParaRPr lang="en-US" altLang="en-US" sz="1200" dirty="0" smtClean="0">
              <a:latin typeface="Courier New" panose="02070309020205020404" pitchFamily="49" charset="0"/>
              <a:cs typeface="Times New Roman" panose="02020603050405020304" pitchFamily="18" charset="0"/>
            </a:endParaRPr>
          </a:p>
          <a:p>
            <a:pPr lvl="1">
              <a:lnSpc>
                <a:spcPct val="90000"/>
              </a:lnSpc>
              <a:buFont typeface="Arial" panose="020B0604020202020204" pitchFamily="34" charset="0"/>
              <a:buNone/>
            </a:pPr>
            <a:r>
              <a:rPr lang="en-US" altLang="en-US" sz="1200" dirty="0" smtClean="0">
                <a:latin typeface="Courier New" panose="02070309020205020404" pitchFamily="49" charset="0"/>
                <a:cs typeface="Courier New" panose="02070309020205020404" pitchFamily="49" charset="0"/>
              </a:rPr>
              <a:t>   END IF;</a:t>
            </a:r>
            <a:endParaRPr lang="en-US" altLang="en-US" sz="1200" dirty="0" smtClean="0">
              <a:latin typeface="Courier New" panose="02070309020205020404" pitchFamily="49" charset="0"/>
              <a:cs typeface="Times New Roman" panose="02020603050405020304" pitchFamily="18" charset="0"/>
            </a:endParaRPr>
          </a:p>
          <a:p>
            <a:pPr lvl="1">
              <a:lnSpc>
                <a:spcPct val="90000"/>
              </a:lnSpc>
              <a:buFont typeface="Arial" panose="020B0604020202020204" pitchFamily="34" charset="0"/>
              <a:buNone/>
            </a:pPr>
            <a:r>
              <a:rPr lang="en-US" altLang="en-US" sz="1200" dirty="0" smtClean="0">
                <a:latin typeface="Courier New" panose="02070309020205020404" pitchFamily="49" charset="0"/>
                <a:cs typeface="Courier New" panose="02070309020205020404" pitchFamily="49" charset="0"/>
              </a:rPr>
              <a:t>END;</a:t>
            </a:r>
            <a:endParaRPr lang="en-US" altLang="en-US" sz="1200" dirty="0" smtClean="0">
              <a:latin typeface="Courier New" panose="02070309020205020404" pitchFamily="49" charset="0"/>
              <a:cs typeface="Times New Roman" panose="02020603050405020304" pitchFamily="18" charset="0"/>
            </a:endParaRPr>
          </a:p>
          <a:p>
            <a:pPr>
              <a:buFont typeface="Wingdings" panose="05000000000000000000" pitchFamily="2" charset="2"/>
              <a:buNone/>
            </a:pPr>
            <a:endParaRPr lang="en-US" altLang="en-US" sz="1200" dirty="0" smtClean="0"/>
          </a:p>
          <a:p>
            <a:pPr>
              <a:buFont typeface="Wingdings" panose="05000000000000000000" pitchFamily="2" charset="2"/>
              <a:buNone/>
            </a:pPr>
            <a:endParaRPr lang="en-US" altLang="en-US" sz="1200" dirty="0" smtClean="0"/>
          </a:p>
        </p:txBody>
      </p:sp>
      <p:sp>
        <p:nvSpPr>
          <p:cNvPr id="6" name="Title 4"/>
          <p:cNvSpPr>
            <a:spLocks noGrp="1"/>
          </p:cNvSpPr>
          <p:nvPr>
            <p:ph type="title" idx="4294967295"/>
          </p:nvPr>
        </p:nvSpPr>
        <p:spPr>
          <a:xfrm>
            <a:off x="0" y="139700"/>
            <a:ext cx="7564438" cy="669925"/>
          </a:xfrm>
        </p:spPr>
        <p:txBody>
          <a:bodyPr/>
          <a:lstStyle/>
          <a:p>
            <a:pPr eaLnBrk="1" hangingPunct="1"/>
            <a:r>
              <a:rPr altLang="en-US" dirty="0" smtClean="0">
                <a:solidFill>
                  <a:schemeClr val="tx1"/>
                </a:solidFill>
              </a:rPr>
              <a:t>Cursor Variable(Ref Cursor)</a:t>
            </a:r>
          </a:p>
        </p:txBody>
      </p:sp>
    </p:spTree>
    <p:extLst>
      <p:ext uri="{BB962C8B-B14F-4D97-AF65-F5344CB8AC3E}">
        <p14:creationId xmlns:p14="http://schemas.microsoft.com/office/powerpoint/2010/main" val="180910528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5"/>
          <p:cNvSpPr>
            <a:spLocks noGrp="1"/>
          </p:cNvSpPr>
          <p:nvPr>
            <p:ph idx="4294967295"/>
          </p:nvPr>
        </p:nvSpPr>
        <p:spPr>
          <a:xfrm>
            <a:off x="862014" y="1219201"/>
            <a:ext cx="8662987" cy="4956175"/>
          </a:xfrm>
        </p:spPr>
        <p:txBody>
          <a:bodyPr/>
          <a:lstStyle/>
          <a:p>
            <a:pPr marL="609600" indent="-609600">
              <a:defRPr/>
            </a:pPr>
            <a:endParaRPr lang="en-US" dirty="0" smtClean="0"/>
          </a:p>
          <a:p>
            <a:pPr>
              <a:defRPr/>
            </a:pPr>
            <a:r>
              <a:rPr lang="en-US" dirty="0" smtClean="0"/>
              <a:t>Collection consists </a:t>
            </a:r>
            <a:r>
              <a:rPr lang="en-US" dirty="0"/>
              <a:t>of one or more elements accessible through an index value</a:t>
            </a:r>
            <a:r>
              <a:rPr lang="en-US" dirty="0" smtClean="0"/>
              <a:t>.</a:t>
            </a:r>
          </a:p>
          <a:p>
            <a:pPr marL="0" indent="0">
              <a:buNone/>
              <a:defRPr/>
            </a:pPr>
            <a:endParaRPr lang="en-US" dirty="0" smtClean="0"/>
          </a:p>
          <a:p>
            <a:r>
              <a:rPr lang="en-US" dirty="0"/>
              <a:t>Collections are used in some of the most important performance optimization features of PL/SQL, such </a:t>
            </a:r>
            <a:r>
              <a:rPr lang="en-US" dirty="0" smtClean="0"/>
              <a:t>as</a:t>
            </a:r>
          </a:p>
          <a:p>
            <a:pPr marL="0" indent="0">
              <a:buNone/>
            </a:pPr>
            <a:endParaRPr lang="en-US" dirty="0"/>
          </a:p>
          <a:p>
            <a:r>
              <a:rPr lang="en-US" sz="1800" b="1" dirty="0"/>
              <a:t>BULK </a:t>
            </a:r>
            <a:r>
              <a:rPr lang="en-US" sz="1800" b="1" dirty="0" smtClean="0"/>
              <a:t>COLLECT-</a:t>
            </a:r>
            <a:r>
              <a:rPr lang="en-US" sz="1800" dirty="0"/>
              <a:t> SELECT statements that retrieve multiple rows with a single fetch, increasing the speed of data retrieval.</a:t>
            </a:r>
          </a:p>
          <a:p>
            <a:r>
              <a:rPr lang="en-US" sz="1800" b="1" dirty="0" smtClean="0"/>
              <a:t>FORALL-</a:t>
            </a:r>
            <a:r>
              <a:rPr lang="en-US" sz="1800" dirty="0"/>
              <a:t> Inserts, updates, and deletes that use collections to change multiple rows of data very quickly</a:t>
            </a:r>
          </a:p>
          <a:p>
            <a:r>
              <a:rPr lang="en-US" sz="1800" b="1" dirty="0"/>
              <a:t>Table </a:t>
            </a:r>
            <a:r>
              <a:rPr lang="en-US" sz="1800" b="1" dirty="0" smtClean="0"/>
              <a:t>functions-</a:t>
            </a:r>
            <a:r>
              <a:rPr lang="en-US" sz="1800" dirty="0"/>
              <a:t> PL/SQL functions that return collections and can be called in the FROM clause of a SELECT statement.</a:t>
            </a:r>
          </a:p>
          <a:p>
            <a:pPr>
              <a:defRPr/>
            </a:pPr>
            <a:endParaRPr lang="en-GB" dirty="0" smtClean="0"/>
          </a:p>
        </p:txBody>
      </p:sp>
      <p:sp>
        <p:nvSpPr>
          <p:cNvPr id="53251" name="Title 4"/>
          <p:cNvSpPr>
            <a:spLocks noGrp="1"/>
          </p:cNvSpPr>
          <p:nvPr>
            <p:ph type="title" idx="4294967295"/>
          </p:nvPr>
        </p:nvSpPr>
        <p:spPr>
          <a:xfrm>
            <a:off x="381000" y="139701"/>
            <a:ext cx="7564438" cy="669925"/>
          </a:xfrm>
        </p:spPr>
        <p:txBody>
          <a:bodyPr/>
          <a:lstStyle/>
          <a:p>
            <a:pPr eaLnBrk="1" hangingPunct="1"/>
            <a:r>
              <a:rPr lang="en-US" altLang="en-US" dirty="0" smtClean="0">
                <a:solidFill>
                  <a:schemeClr val="tx1"/>
                </a:solidFill>
              </a:rPr>
              <a:t>Collection</a:t>
            </a:r>
            <a:endParaRPr altLang="en-US" dirty="0" smtClean="0">
              <a:solidFill>
                <a:schemeClr val="tx1"/>
              </a:solidFill>
            </a:endParaRPr>
          </a:p>
        </p:txBody>
      </p:sp>
    </p:spTree>
    <p:extLst>
      <p:ext uri="{BB962C8B-B14F-4D97-AF65-F5344CB8AC3E}">
        <p14:creationId xmlns:p14="http://schemas.microsoft.com/office/powerpoint/2010/main" val="347547728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auto">
          <a:xfrm>
            <a:off x="512064" y="118873"/>
            <a:ext cx="9144000" cy="758952"/>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lvl1pPr algn="l" defTabSz="912813" rtl="0" eaLnBrk="1" fontAlgn="base" hangingPunct="1">
              <a:lnSpc>
                <a:spcPct val="85000"/>
              </a:lnSpc>
              <a:spcBef>
                <a:spcPct val="0"/>
              </a:spcBef>
              <a:spcAft>
                <a:spcPct val="0"/>
              </a:spcAft>
              <a:defRPr sz="3200" kern="1200">
                <a:solidFill>
                  <a:schemeClr val="tx1"/>
                </a:solidFill>
                <a:latin typeface="+mj-lt"/>
                <a:ea typeface="+mj-ea"/>
                <a:cs typeface="+mj-cs"/>
              </a:defRPr>
            </a:lvl1pPr>
            <a:lvl2pPr algn="l" defTabSz="912813" rtl="0" eaLnBrk="1" fontAlgn="base" hangingPunct="1">
              <a:lnSpc>
                <a:spcPct val="85000"/>
              </a:lnSpc>
              <a:spcBef>
                <a:spcPct val="0"/>
              </a:spcBef>
              <a:spcAft>
                <a:spcPct val="0"/>
              </a:spcAft>
              <a:defRPr sz="3200">
                <a:solidFill>
                  <a:schemeClr val="tx1"/>
                </a:solidFill>
                <a:latin typeface="Arial" pitchFamily="34" charset="0"/>
              </a:defRPr>
            </a:lvl2pPr>
            <a:lvl3pPr algn="l" defTabSz="912813" rtl="0" eaLnBrk="1" fontAlgn="base" hangingPunct="1">
              <a:lnSpc>
                <a:spcPct val="85000"/>
              </a:lnSpc>
              <a:spcBef>
                <a:spcPct val="0"/>
              </a:spcBef>
              <a:spcAft>
                <a:spcPct val="0"/>
              </a:spcAft>
              <a:defRPr sz="3200">
                <a:solidFill>
                  <a:schemeClr val="tx1"/>
                </a:solidFill>
                <a:latin typeface="Arial" pitchFamily="34" charset="0"/>
              </a:defRPr>
            </a:lvl3pPr>
            <a:lvl4pPr algn="l" defTabSz="912813" rtl="0" eaLnBrk="1" fontAlgn="base" hangingPunct="1">
              <a:lnSpc>
                <a:spcPct val="85000"/>
              </a:lnSpc>
              <a:spcBef>
                <a:spcPct val="0"/>
              </a:spcBef>
              <a:spcAft>
                <a:spcPct val="0"/>
              </a:spcAft>
              <a:defRPr sz="3200">
                <a:solidFill>
                  <a:schemeClr val="tx1"/>
                </a:solidFill>
                <a:latin typeface="Arial" pitchFamily="34" charset="0"/>
              </a:defRPr>
            </a:lvl4pPr>
            <a:lvl5pPr algn="l" defTabSz="912813" rtl="0" eaLnBrk="1" fontAlgn="base" hangingPunct="1">
              <a:lnSpc>
                <a:spcPct val="85000"/>
              </a:lnSpc>
              <a:spcBef>
                <a:spcPct val="0"/>
              </a:spcBef>
              <a:spcAft>
                <a:spcPct val="0"/>
              </a:spcAft>
              <a:defRPr sz="3200">
                <a:solidFill>
                  <a:schemeClr val="tx1"/>
                </a:solidFill>
                <a:latin typeface="Arial" pitchFamily="34" charset="0"/>
              </a:defRPr>
            </a:lvl5pPr>
            <a:lvl6pPr marL="457200" algn="l" defTabSz="912813" rtl="0" eaLnBrk="1" fontAlgn="base" hangingPunct="1">
              <a:lnSpc>
                <a:spcPct val="85000"/>
              </a:lnSpc>
              <a:spcBef>
                <a:spcPct val="0"/>
              </a:spcBef>
              <a:spcAft>
                <a:spcPct val="0"/>
              </a:spcAft>
              <a:defRPr sz="3200">
                <a:solidFill>
                  <a:schemeClr val="tx1"/>
                </a:solidFill>
                <a:latin typeface="Arial" pitchFamily="34" charset="0"/>
              </a:defRPr>
            </a:lvl6pPr>
            <a:lvl7pPr marL="914400" algn="l" defTabSz="912813" rtl="0" eaLnBrk="1" fontAlgn="base" hangingPunct="1">
              <a:lnSpc>
                <a:spcPct val="85000"/>
              </a:lnSpc>
              <a:spcBef>
                <a:spcPct val="0"/>
              </a:spcBef>
              <a:spcAft>
                <a:spcPct val="0"/>
              </a:spcAft>
              <a:defRPr sz="3200">
                <a:solidFill>
                  <a:schemeClr val="tx1"/>
                </a:solidFill>
                <a:latin typeface="Arial" pitchFamily="34" charset="0"/>
              </a:defRPr>
            </a:lvl7pPr>
            <a:lvl8pPr marL="1371600" algn="l" defTabSz="912813" rtl="0" eaLnBrk="1" fontAlgn="base" hangingPunct="1">
              <a:lnSpc>
                <a:spcPct val="85000"/>
              </a:lnSpc>
              <a:spcBef>
                <a:spcPct val="0"/>
              </a:spcBef>
              <a:spcAft>
                <a:spcPct val="0"/>
              </a:spcAft>
              <a:defRPr sz="3200">
                <a:solidFill>
                  <a:schemeClr val="tx1"/>
                </a:solidFill>
                <a:latin typeface="Arial" pitchFamily="34" charset="0"/>
              </a:defRPr>
            </a:lvl8pPr>
            <a:lvl9pPr marL="1828800" algn="l" defTabSz="912813" rtl="0" eaLnBrk="1" fontAlgn="base" hangingPunct="1">
              <a:lnSpc>
                <a:spcPct val="85000"/>
              </a:lnSpc>
              <a:spcBef>
                <a:spcPct val="0"/>
              </a:spcBef>
              <a:spcAft>
                <a:spcPct val="0"/>
              </a:spcAft>
              <a:defRPr sz="3200">
                <a:solidFill>
                  <a:schemeClr val="tx1"/>
                </a:solidFill>
                <a:latin typeface="Arial" pitchFamily="34" charset="0"/>
              </a:defRPr>
            </a:lvl9pPr>
          </a:lstStyle>
          <a:p>
            <a:r>
              <a:rPr lang="en-US" altLang="en-US" dirty="0" smtClean="0"/>
              <a:t>What to Expect from the session</a:t>
            </a:r>
          </a:p>
        </p:txBody>
      </p:sp>
      <p:sp>
        <p:nvSpPr>
          <p:cNvPr id="6" name="TextBox 5"/>
          <p:cNvSpPr txBox="1"/>
          <p:nvPr/>
        </p:nvSpPr>
        <p:spPr>
          <a:xfrm>
            <a:off x="753853" y="1569956"/>
            <a:ext cx="7770813" cy="4154487"/>
          </a:xfrm>
          <a:prstGeom prst="rect">
            <a:avLst/>
          </a:prstGeom>
          <a:noFill/>
        </p:spPr>
        <p:txBody>
          <a:bodyPr>
            <a:spAutoFit/>
          </a:bodyPr>
          <a:lstStyle/>
          <a:p>
            <a:pPr eaLnBrk="1" hangingPunct="1">
              <a:defRPr/>
            </a:pPr>
            <a:r>
              <a:rPr lang="en-US" sz="2400" dirty="0">
                <a:solidFill>
                  <a:schemeClr val="tx2">
                    <a:lumMod val="50000"/>
                  </a:schemeClr>
                </a:solidFill>
                <a:latin typeface="Arial" charset="0"/>
              </a:rPr>
              <a:t>After the session there will be clear understanding of below mentioned topics</a:t>
            </a:r>
          </a:p>
          <a:p>
            <a:pPr eaLnBrk="1" hangingPunct="1">
              <a:defRPr/>
            </a:pPr>
            <a:endParaRPr lang="en-US" sz="2400" dirty="0">
              <a:solidFill>
                <a:schemeClr val="tx2">
                  <a:lumMod val="50000"/>
                </a:schemeClr>
              </a:solidFill>
              <a:latin typeface="Arial" charset="0"/>
            </a:endParaRPr>
          </a:p>
          <a:p>
            <a:pPr indent="282575" eaLnBrk="1" hangingPunct="1">
              <a:buFont typeface="Arial" pitchFamily="34" charset="0"/>
              <a:buChar char="•"/>
              <a:defRPr/>
            </a:pPr>
            <a:r>
              <a:rPr lang="en-US" sz="2400" dirty="0">
                <a:solidFill>
                  <a:schemeClr val="tx2">
                    <a:lumMod val="50000"/>
                  </a:schemeClr>
                </a:solidFill>
                <a:latin typeface="Arial" charset="0"/>
              </a:rPr>
              <a:t>Recap of key PL-SQL topics(Procedures, Functions, </a:t>
            </a:r>
            <a:r>
              <a:rPr lang="en-US" sz="2400" dirty="0" smtClean="0">
                <a:solidFill>
                  <a:schemeClr val="tx2">
                    <a:lumMod val="50000"/>
                  </a:schemeClr>
                </a:solidFill>
                <a:latin typeface="Arial" charset="0"/>
              </a:rPr>
              <a:t>     Packages</a:t>
            </a:r>
            <a:r>
              <a:rPr lang="en-US" sz="2400" dirty="0">
                <a:solidFill>
                  <a:schemeClr val="tx2">
                    <a:lumMod val="50000"/>
                  </a:schemeClr>
                </a:solidFill>
                <a:latin typeface="Arial" charset="0"/>
              </a:rPr>
              <a:t>, Exception handling)</a:t>
            </a:r>
          </a:p>
          <a:p>
            <a:pPr indent="282575" eaLnBrk="1" hangingPunct="1">
              <a:buFont typeface="Arial" pitchFamily="34" charset="0"/>
              <a:buChar char="•"/>
              <a:defRPr/>
            </a:pPr>
            <a:r>
              <a:rPr lang="en-US" sz="2400" dirty="0">
                <a:solidFill>
                  <a:schemeClr val="tx2">
                    <a:lumMod val="50000"/>
                  </a:schemeClr>
                </a:solidFill>
                <a:latin typeface="Arial" charset="0"/>
              </a:rPr>
              <a:t>Advanced PL/SQL topics like Cursors, Collections, Triggers, Pragma, UTL_FILE , For all, </a:t>
            </a:r>
            <a:r>
              <a:rPr lang="en-US" sz="2400" dirty="0" smtClean="0">
                <a:solidFill>
                  <a:schemeClr val="tx2">
                    <a:lumMod val="50000"/>
                  </a:schemeClr>
                </a:solidFill>
                <a:latin typeface="Arial" charset="0"/>
              </a:rPr>
              <a:t>Bulk </a:t>
            </a:r>
            <a:r>
              <a:rPr lang="en-US" sz="2400" dirty="0">
                <a:solidFill>
                  <a:schemeClr val="tx2">
                    <a:lumMod val="50000"/>
                  </a:schemeClr>
                </a:solidFill>
                <a:latin typeface="Arial" charset="0"/>
              </a:rPr>
              <a:t>Collect</a:t>
            </a:r>
          </a:p>
          <a:p>
            <a:pPr indent="282575" eaLnBrk="1" hangingPunct="1">
              <a:buFont typeface="Arial" pitchFamily="34" charset="0"/>
              <a:buChar char="•"/>
              <a:defRPr/>
            </a:pPr>
            <a:r>
              <a:rPr lang="en-US" sz="2400" dirty="0">
                <a:solidFill>
                  <a:schemeClr val="tx2">
                    <a:lumMod val="50000"/>
                  </a:schemeClr>
                </a:solidFill>
                <a:latin typeface="Arial" charset="0"/>
              </a:rPr>
              <a:t>Performance Optimization of SQL Queries - Explain Plan &amp; Costing </a:t>
            </a:r>
          </a:p>
          <a:p>
            <a:pPr indent="282575" eaLnBrk="1" hangingPunct="1">
              <a:buFont typeface="Arial" pitchFamily="34" charset="0"/>
              <a:buChar char="•"/>
              <a:defRPr/>
            </a:pPr>
            <a:r>
              <a:rPr lang="en-US" sz="2400" dirty="0">
                <a:solidFill>
                  <a:schemeClr val="tx2">
                    <a:lumMod val="50000"/>
                  </a:schemeClr>
                </a:solidFill>
                <a:latin typeface="Arial" charset="0"/>
              </a:rPr>
              <a:t>Unix Shell Scripting and Commonly used Commands (Find, Copy, delete etc)</a:t>
            </a:r>
          </a:p>
        </p:txBody>
      </p:sp>
    </p:spTree>
    <p:extLst>
      <p:ext uri="{BB962C8B-B14F-4D97-AF65-F5344CB8AC3E}">
        <p14:creationId xmlns:p14="http://schemas.microsoft.com/office/powerpoint/2010/main" val="131768822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5"/>
          <p:cNvSpPr>
            <a:spLocks noGrp="1"/>
          </p:cNvSpPr>
          <p:nvPr>
            <p:ph idx="4294967295"/>
          </p:nvPr>
        </p:nvSpPr>
        <p:spPr>
          <a:xfrm>
            <a:off x="862014" y="1219201"/>
            <a:ext cx="8662987" cy="4956175"/>
          </a:xfrm>
        </p:spPr>
        <p:txBody>
          <a:bodyPr/>
          <a:lstStyle/>
          <a:p>
            <a:pPr marL="609600" indent="-609600">
              <a:defRPr/>
            </a:pPr>
            <a:endParaRPr lang="en-US" dirty="0" smtClean="0"/>
          </a:p>
          <a:p>
            <a:pPr>
              <a:defRPr/>
            </a:pPr>
            <a:r>
              <a:rPr lang="en-US" dirty="0"/>
              <a:t>Autonomous transactions allow you to leave the context of the calling transaction</a:t>
            </a:r>
            <a:r>
              <a:rPr lang="en-US" dirty="0" smtClean="0"/>
              <a:t>,</a:t>
            </a:r>
            <a:r>
              <a:rPr lang="en-US" dirty="0"/>
              <a:t> perform an </a:t>
            </a:r>
            <a:r>
              <a:rPr lang="en-US" dirty="0" smtClean="0"/>
              <a:t>independent </a:t>
            </a:r>
            <a:r>
              <a:rPr lang="en-US" dirty="0"/>
              <a:t>transaction, and return to the calling transaction  without </a:t>
            </a:r>
            <a:r>
              <a:rPr lang="en-US" dirty="0" smtClean="0"/>
              <a:t>affecting </a:t>
            </a:r>
            <a:r>
              <a:rPr lang="en-US" dirty="0"/>
              <a:t>it's state</a:t>
            </a:r>
            <a:r>
              <a:rPr lang="en-US" dirty="0" smtClean="0"/>
              <a:t>.</a:t>
            </a:r>
          </a:p>
          <a:p>
            <a:pPr>
              <a:defRPr/>
            </a:pPr>
            <a:endParaRPr lang="en-US" dirty="0"/>
          </a:p>
          <a:p>
            <a:pPr>
              <a:defRPr/>
            </a:pPr>
            <a:r>
              <a:rPr lang="en-US" dirty="0"/>
              <a:t>The autonomous transaction has no link to the calling transaction, so only </a:t>
            </a:r>
            <a:r>
              <a:rPr lang="en-US" dirty="0" err="1"/>
              <a:t>commited</a:t>
            </a:r>
            <a:r>
              <a:rPr lang="en-US" dirty="0"/>
              <a:t> data can be shared by both transactions</a:t>
            </a:r>
            <a:r>
              <a:rPr lang="en-US" dirty="0" smtClean="0"/>
              <a:t>.</a:t>
            </a:r>
            <a:r>
              <a:rPr lang="en-US" dirty="0"/>
              <a:t> </a:t>
            </a:r>
            <a:endParaRPr lang="en-GB" dirty="0" smtClean="0"/>
          </a:p>
        </p:txBody>
      </p:sp>
      <p:sp>
        <p:nvSpPr>
          <p:cNvPr id="53251" name="Title 4"/>
          <p:cNvSpPr>
            <a:spLocks noGrp="1"/>
          </p:cNvSpPr>
          <p:nvPr>
            <p:ph type="title" idx="4294967295"/>
          </p:nvPr>
        </p:nvSpPr>
        <p:spPr>
          <a:xfrm>
            <a:off x="381000" y="139701"/>
            <a:ext cx="7564438" cy="669925"/>
          </a:xfrm>
        </p:spPr>
        <p:txBody>
          <a:bodyPr/>
          <a:lstStyle/>
          <a:p>
            <a:r>
              <a:rPr lang="en-US" altLang="en-US" dirty="0" smtClean="0">
                <a:solidFill>
                  <a:schemeClr val="tx1"/>
                </a:solidFill>
              </a:rPr>
              <a:t>Pragma </a:t>
            </a:r>
            <a:r>
              <a:rPr lang="en-US" dirty="0"/>
              <a:t>Autonomous transactions </a:t>
            </a:r>
            <a:endParaRPr altLang="en-US" dirty="0" smtClean="0">
              <a:solidFill>
                <a:schemeClr val="tx1"/>
              </a:solidFill>
            </a:endParaRPr>
          </a:p>
        </p:txBody>
      </p:sp>
    </p:spTree>
    <p:extLst>
      <p:ext uri="{BB962C8B-B14F-4D97-AF65-F5344CB8AC3E}">
        <p14:creationId xmlns:p14="http://schemas.microsoft.com/office/powerpoint/2010/main" val="14848592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5"/>
          <p:cNvSpPr txBox="1">
            <a:spLocks/>
          </p:cNvSpPr>
          <p:nvPr/>
        </p:nvSpPr>
        <p:spPr bwMode="auto">
          <a:xfrm>
            <a:off x="662169" y="979038"/>
            <a:ext cx="8662987" cy="4956175"/>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anose="05000000000000000000" pitchFamily="2" charset="2"/>
              <a:buNone/>
            </a:pPr>
            <a:endParaRPr lang="en-US" altLang="en-US" sz="1200" dirty="0" smtClean="0"/>
          </a:p>
          <a:p>
            <a:pPr>
              <a:buFont typeface="Wingdings" panose="05000000000000000000" pitchFamily="2" charset="2"/>
              <a:buNone/>
            </a:pPr>
            <a:endParaRPr lang="en-US" altLang="en-US" sz="1200" dirty="0" smtClean="0"/>
          </a:p>
          <a:p>
            <a:pPr>
              <a:lnSpc>
                <a:spcPct val="80000"/>
              </a:lnSpc>
            </a:pPr>
            <a:r>
              <a:rPr lang="en-US" altLang="en-US" dirty="0" smtClean="0"/>
              <a:t>Database trigger – a stored PL/SQL program unit that is associated with a specific database table, or with certain view types – can also be associated with a system event such as database startup.</a:t>
            </a:r>
          </a:p>
          <a:p>
            <a:pPr>
              <a:lnSpc>
                <a:spcPct val="80000"/>
              </a:lnSpc>
              <a:buFont typeface="Wingdings" pitchFamily="2" charset="2"/>
              <a:buNone/>
            </a:pPr>
            <a:endParaRPr lang="en-US" altLang="en-US" dirty="0" smtClean="0"/>
          </a:p>
          <a:p>
            <a:pPr>
              <a:lnSpc>
                <a:spcPct val="80000"/>
              </a:lnSpc>
            </a:pPr>
            <a:r>
              <a:rPr lang="en-US" altLang="en-US" dirty="0" smtClean="0"/>
              <a:t>Triggers execute (fire) automatically for specified SQL DML operations – INSERT, UPDATE, or DELETE affecting one or more rows of a table. </a:t>
            </a:r>
          </a:p>
          <a:p>
            <a:pPr>
              <a:lnSpc>
                <a:spcPct val="80000"/>
              </a:lnSpc>
            </a:pPr>
            <a:endParaRPr lang="en-US" altLang="en-US" dirty="0" smtClean="0"/>
          </a:p>
          <a:p>
            <a:pPr>
              <a:lnSpc>
                <a:spcPct val="80000"/>
              </a:lnSpc>
              <a:buFont typeface="Wingdings" pitchFamily="2" charset="2"/>
              <a:buNone/>
            </a:pPr>
            <a:endParaRPr lang="en-US" altLang="en-US" dirty="0" smtClean="0"/>
          </a:p>
          <a:p>
            <a:pPr>
              <a:buFont typeface="Wingdings" pitchFamily="2" charset="2"/>
              <a:buNone/>
            </a:pPr>
            <a:endParaRPr lang="en-US" altLang="en-US" sz="1200" dirty="0" smtClean="0"/>
          </a:p>
          <a:p>
            <a:pPr>
              <a:buFont typeface="Wingdings" pitchFamily="2" charset="2"/>
              <a:buNone/>
            </a:pPr>
            <a:endParaRPr lang="en-US" altLang="en-US" sz="1200" dirty="0" smtClean="0"/>
          </a:p>
        </p:txBody>
      </p:sp>
      <p:sp>
        <p:nvSpPr>
          <p:cNvPr id="4" name="Title 4"/>
          <p:cNvSpPr>
            <a:spLocks noGrp="1"/>
          </p:cNvSpPr>
          <p:nvPr>
            <p:ph type="title" idx="4294967295"/>
          </p:nvPr>
        </p:nvSpPr>
        <p:spPr>
          <a:xfrm>
            <a:off x="0" y="76200"/>
            <a:ext cx="7564438" cy="669925"/>
          </a:xfrm>
        </p:spPr>
        <p:txBody>
          <a:bodyPr/>
          <a:lstStyle/>
          <a:p>
            <a:pPr eaLnBrk="1" hangingPunct="1"/>
            <a:r>
              <a:rPr altLang="en-US" dirty="0" smtClean="0">
                <a:solidFill>
                  <a:schemeClr val="tx1"/>
                </a:solidFill>
              </a:rPr>
              <a:t>Database Triggers</a:t>
            </a:r>
          </a:p>
        </p:txBody>
      </p:sp>
    </p:spTree>
    <p:extLst>
      <p:ext uri="{BB962C8B-B14F-4D97-AF65-F5344CB8AC3E}">
        <p14:creationId xmlns:p14="http://schemas.microsoft.com/office/powerpoint/2010/main" val="39488291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Content Placeholder 5"/>
          <p:cNvSpPr>
            <a:spLocks noGrp="1"/>
          </p:cNvSpPr>
          <p:nvPr>
            <p:ph idx="4294967295"/>
          </p:nvPr>
        </p:nvSpPr>
        <p:spPr>
          <a:xfrm>
            <a:off x="844762" y="809626"/>
            <a:ext cx="8662987" cy="4956175"/>
          </a:xfrm>
        </p:spPr>
        <p:txBody>
          <a:bodyPr/>
          <a:lstStyle/>
          <a:p>
            <a:pPr>
              <a:buFont typeface="Wingdings" panose="05000000000000000000" pitchFamily="2" charset="2"/>
              <a:buNone/>
            </a:pPr>
            <a:endParaRPr lang="en-US" altLang="en-US" sz="1200" dirty="0"/>
          </a:p>
          <a:p>
            <a:pPr>
              <a:buFont typeface="Wingdings" panose="05000000000000000000" pitchFamily="2" charset="2"/>
              <a:buNone/>
            </a:pPr>
            <a:endParaRPr lang="en-US" altLang="en-US" sz="1200" dirty="0"/>
          </a:p>
          <a:p>
            <a:pPr>
              <a:lnSpc>
                <a:spcPct val="80000"/>
              </a:lnSpc>
              <a:buFontTx/>
              <a:buNone/>
            </a:pPr>
            <a:r>
              <a:rPr lang="en-GB" altLang="en-US" dirty="0" smtClean="0">
                <a:latin typeface="+mj-lt"/>
              </a:rPr>
              <a:t>CREATE [OR REPLACE] TRIGGER trigger_name</a:t>
            </a:r>
          </a:p>
          <a:p>
            <a:pPr>
              <a:lnSpc>
                <a:spcPct val="80000"/>
              </a:lnSpc>
              <a:buFontTx/>
              <a:buNone/>
            </a:pPr>
            <a:r>
              <a:rPr lang="en-GB" altLang="en-US" dirty="0" smtClean="0">
                <a:latin typeface="+mj-lt"/>
              </a:rPr>
              <a:t>{BEFORE|AFTER|INSTEAD OF} triggering_event [</a:t>
            </a:r>
            <a:r>
              <a:rPr lang="en-GB" altLang="en-US" dirty="0" smtClean="0"/>
              <a:t>referencing_clause</a:t>
            </a:r>
            <a:r>
              <a:rPr lang="en-GB" altLang="en-US" dirty="0" smtClean="0">
                <a:latin typeface="+mj-lt"/>
              </a:rPr>
              <a:t>] ON {table_name | view_name}</a:t>
            </a:r>
          </a:p>
          <a:p>
            <a:pPr>
              <a:lnSpc>
                <a:spcPct val="80000"/>
              </a:lnSpc>
              <a:buFontTx/>
              <a:buNone/>
            </a:pPr>
            <a:r>
              <a:rPr lang="en-GB" altLang="en-US" dirty="0" smtClean="0">
                <a:latin typeface="+mj-lt"/>
              </a:rPr>
              <a:t>[WHEN condition] [FOR EACH ROW]  </a:t>
            </a:r>
          </a:p>
          <a:p>
            <a:pPr>
              <a:lnSpc>
                <a:spcPct val="80000"/>
              </a:lnSpc>
              <a:buFontTx/>
              <a:buNone/>
            </a:pPr>
            <a:r>
              <a:rPr lang="en-GB" altLang="en-US" dirty="0" smtClean="0">
                <a:latin typeface="+mj-lt"/>
              </a:rPr>
              <a:t>DECLARE</a:t>
            </a:r>
          </a:p>
          <a:p>
            <a:pPr>
              <a:lnSpc>
                <a:spcPct val="80000"/>
              </a:lnSpc>
              <a:buFontTx/>
              <a:buNone/>
            </a:pPr>
            <a:r>
              <a:rPr lang="en-GB" altLang="en-US" dirty="0" smtClean="0">
                <a:latin typeface="+mj-lt"/>
              </a:rPr>
              <a:t>    Declaration statements</a:t>
            </a:r>
          </a:p>
          <a:p>
            <a:pPr>
              <a:lnSpc>
                <a:spcPct val="80000"/>
              </a:lnSpc>
              <a:buFontTx/>
              <a:buNone/>
            </a:pPr>
            <a:r>
              <a:rPr lang="en-GB" altLang="en-US" dirty="0" smtClean="0">
                <a:latin typeface="+mj-lt"/>
              </a:rPr>
              <a:t>[BEGIN</a:t>
            </a:r>
          </a:p>
          <a:p>
            <a:pPr>
              <a:lnSpc>
                <a:spcPct val="80000"/>
              </a:lnSpc>
              <a:buFontTx/>
              <a:buNone/>
            </a:pPr>
            <a:r>
              <a:rPr lang="en-GB" altLang="en-US" dirty="0" smtClean="0">
                <a:latin typeface="+mj-lt"/>
              </a:rPr>
              <a:t>    Executable statements</a:t>
            </a:r>
          </a:p>
          <a:p>
            <a:pPr>
              <a:lnSpc>
                <a:spcPct val="80000"/>
              </a:lnSpc>
              <a:buFontTx/>
              <a:buNone/>
            </a:pPr>
            <a:r>
              <a:rPr lang="en-GB" altLang="en-US" dirty="0" smtClean="0">
                <a:latin typeface="+mj-lt"/>
              </a:rPr>
              <a:t>EXCEPTION</a:t>
            </a:r>
          </a:p>
          <a:p>
            <a:pPr>
              <a:lnSpc>
                <a:spcPct val="80000"/>
              </a:lnSpc>
              <a:buFontTx/>
              <a:buNone/>
            </a:pPr>
            <a:r>
              <a:rPr lang="en-GB" altLang="en-US" dirty="0" smtClean="0">
                <a:latin typeface="+mj-lt"/>
              </a:rPr>
              <a:t>    Exception-handling statements]</a:t>
            </a:r>
          </a:p>
          <a:p>
            <a:pPr>
              <a:lnSpc>
                <a:spcPct val="80000"/>
              </a:lnSpc>
              <a:buFontTx/>
              <a:buNone/>
            </a:pPr>
            <a:r>
              <a:rPr lang="en-GB" altLang="en-US" dirty="0" smtClean="0">
                <a:latin typeface="+mj-lt"/>
              </a:rPr>
              <a:t>END;</a:t>
            </a:r>
          </a:p>
          <a:p>
            <a:pPr>
              <a:buFont typeface="Wingdings" panose="05000000000000000000" pitchFamily="2" charset="2"/>
              <a:buNone/>
            </a:pPr>
            <a:endParaRPr lang="en-US" altLang="en-US" sz="1200" dirty="0"/>
          </a:p>
          <a:p>
            <a:pPr>
              <a:buFont typeface="Wingdings" panose="05000000000000000000" pitchFamily="2" charset="2"/>
              <a:buNone/>
            </a:pPr>
            <a:endParaRPr lang="en-US" altLang="en-US" sz="1200" dirty="0"/>
          </a:p>
        </p:txBody>
      </p:sp>
      <p:sp>
        <p:nvSpPr>
          <p:cNvPr id="44035" name="Title 4"/>
          <p:cNvSpPr>
            <a:spLocks noGrp="1"/>
          </p:cNvSpPr>
          <p:nvPr>
            <p:ph type="title" idx="4294967295"/>
          </p:nvPr>
        </p:nvSpPr>
        <p:spPr>
          <a:xfrm>
            <a:off x="381000" y="139701"/>
            <a:ext cx="7564438" cy="669925"/>
          </a:xfrm>
        </p:spPr>
        <p:txBody>
          <a:bodyPr/>
          <a:lstStyle/>
          <a:p>
            <a:pPr eaLnBrk="1" hangingPunct="1"/>
            <a:r>
              <a:rPr altLang="en-US" dirty="0" smtClean="0">
                <a:solidFill>
                  <a:schemeClr val="tx1"/>
                </a:solidFill>
              </a:rPr>
              <a:t>Trigger Syntax</a:t>
            </a:r>
          </a:p>
        </p:txBody>
      </p:sp>
    </p:spTree>
    <p:extLst>
      <p:ext uri="{BB962C8B-B14F-4D97-AF65-F5344CB8AC3E}">
        <p14:creationId xmlns:p14="http://schemas.microsoft.com/office/powerpoint/2010/main" val="267059328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5"/>
          <p:cNvSpPr txBox="1">
            <a:spLocks/>
          </p:cNvSpPr>
          <p:nvPr/>
        </p:nvSpPr>
        <p:spPr bwMode="auto">
          <a:xfrm>
            <a:off x="670795" y="746125"/>
            <a:ext cx="8662987" cy="4956175"/>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anose="05000000000000000000" pitchFamily="2" charset="2"/>
              <a:buNone/>
            </a:pPr>
            <a:endParaRPr lang="en-US" altLang="en-US" sz="1200" dirty="0" smtClean="0"/>
          </a:p>
          <a:p>
            <a:pPr>
              <a:buFont typeface="Wingdings" panose="05000000000000000000" pitchFamily="2" charset="2"/>
              <a:buNone/>
            </a:pPr>
            <a:endParaRPr lang="en-US" altLang="en-US" sz="1200" dirty="0" smtClean="0"/>
          </a:p>
          <a:p>
            <a:pPr>
              <a:lnSpc>
                <a:spcPct val="80000"/>
              </a:lnSpc>
            </a:pPr>
            <a:r>
              <a:rPr lang="en-US" altLang="en-US" dirty="0" smtClean="0"/>
              <a:t>Database </a:t>
            </a:r>
            <a:r>
              <a:rPr lang="en-US" altLang="en-US" dirty="0"/>
              <a:t>triggers can be used to perform any of the following tasks:</a:t>
            </a:r>
          </a:p>
          <a:p>
            <a:pPr>
              <a:lnSpc>
                <a:spcPct val="80000"/>
              </a:lnSpc>
              <a:buNone/>
            </a:pPr>
            <a:endParaRPr lang="en-US" altLang="en-US" dirty="0"/>
          </a:p>
          <a:p>
            <a:pPr lvl="1">
              <a:lnSpc>
                <a:spcPct val="80000"/>
              </a:lnSpc>
            </a:pPr>
            <a:r>
              <a:rPr lang="en-US" altLang="en-US" sz="2000" dirty="0"/>
              <a:t>Audit data modification.</a:t>
            </a:r>
          </a:p>
          <a:p>
            <a:pPr lvl="1">
              <a:lnSpc>
                <a:spcPct val="80000"/>
              </a:lnSpc>
            </a:pPr>
            <a:r>
              <a:rPr lang="en-US" altLang="en-US" sz="2000" dirty="0"/>
              <a:t>Log events transparently.</a:t>
            </a:r>
          </a:p>
          <a:p>
            <a:pPr lvl="1">
              <a:lnSpc>
                <a:spcPct val="80000"/>
              </a:lnSpc>
            </a:pPr>
            <a:r>
              <a:rPr lang="en-US" altLang="en-US" sz="2000" dirty="0"/>
              <a:t>Enforce complex business rules.</a:t>
            </a:r>
          </a:p>
          <a:p>
            <a:pPr lvl="1">
              <a:lnSpc>
                <a:spcPct val="80000"/>
              </a:lnSpc>
            </a:pPr>
            <a:r>
              <a:rPr lang="en-US" altLang="en-US" sz="2000" dirty="0"/>
              <a:t>Derive column values automatically. </a:t>
            </a:r>
          </a:p>
          <a:p>
            <a:pPr lvl="1">
              <a:lnSpc>
                <a:spcPct val="80000"/>
              </a:lnSpc>
            </a:pPr>
            <a:r>
              <a:rPr lang="en-US" altLang="en-US" sz="2000" dirty="0"/>
              <a:t>Implement complex security authorizations. </a:t>
            </a:r>
          </a:p>
          <a:p>
            <a:pPr lvl="1">
              <a:lnSpc>
                <a:spcPct val="80000"/>
              </a:lnSpc>
            </a:pPr>
            <a:r>
              <a:rPr lang="en-US" altLang="en-US" sz="2000" dirty="0"/>
              <a:t>Maintain replicate tables.</a:t>
            </a:r>
          </a:p>
          <a:p>
            <a:pPr lvl="1">
              <a:lnSpc>
                <a:spcPct val="80000"/>
              </a:lnSpc>
            </a:pPr>
            <a:r>
              <a:rPr lang="en-US" altLang="en-US" sz="2000" dirty="0"/>
              <a:t>Publish information about events for a publish-subscribe environment such as that associated with web programming.  </a:t>
            </a:r>
          </a:p>
          <a:p>
            <a:pPr>
              <a:lnSpc>
                <a:spcPct val="80000"/>
              </a:lnSpc>
            </a:pPr>
            <a:endParaRPr lang="en-US" altLang="en-US" dirty="0" smtClean="0"/>
          </a:p>
          <a:p>
            <a:pPr>
              <a:lnSpc>
                <a:spcPct val="80000"/>
              </a:lnSpc>
              <a:buFont typeface="Wingdings" pitchFamily="2" charset="2"/>
              <a:buNone/>
            </a:pPr>
            <a:endParaRPr lang="en-US" altLang="en-US" dirty="0" smtClean="0"/>
          </a:p>
          <a:p>
            <a:pPr>
              <a:buFont typeface="Wingdings" pitchFamily="2" charset="2"/>
              <a:buNone/>
            </a:pPr>
            <a:endParaRPr lang="en-US" altLang="en-US" sz="1200" dirty="0" smtClean="0"/>
          </a:p>
          <a:p>
            <a:pPr>
              <a:buFont typeface="Wingdings" pitchFamily="2" charset="2"/>
              <a:buNone/>
            </a:pPr>
            <a:endParaRPr lang="en-US" altLang="en-US" sz="1200" dirty="0" smtClean="0"/>
          </a:p>
        </p:txBody>
      </p:sp>
      <p:sp>
        <p:nvSpPr>
          <p:cNvPr id="4" name="Title 4"/>
          <p:cNvSpPr>
            <a:spLocks noGrp="1"/>
          </p:cNvSpPr>
          <p:nvPr>
            <p:ph type="title" idx="4294967295"/>
          </p:nvPr>
        </p:nvSpPr>
        <p:spPr>
          <a:xfrm>
            <a:off x="0" y="76200"/>
            <a:ext cx="7564438" cy="669925"/>
          </a:xfrm>
        </p:spPr>
        <p:txBody>
          <a:bodyPr/>
          <a:lstStyle/>
          <a:p>
            <a:pPr eaLnBrk="1" hangingPunct="1"/>
            <a:r>
              <a:rPr altLang="en-US" dirty="0" smtClean="0">
                <a:solidFill>
                  <a:schemeClr val="tx1"/>
                </a:solidFill>
              </a:rPr>
              <a:t>Database Triggers</a:t>
            </a:r>
          </a:p>
        </p:txBody>
      </p:sp>
    </p:spTree>
    <p:extLst>
      <p:ext uri="{BB962C8B-B14F-4D97-AF65-F5344CB8AC3E}">
        <p14:creationId xmlns:p14="http://schemas.microsoft.com/office/powerpoint/2010/main" val="18442663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Content Placeholder 5"/>
          <p:cNvSpPr>
            <a:spLocks noGrp="1"/>
          </p:cNvSpPr>
          <p:nvPr>
            <p:ph idx="4294967295"/>
          </p:nvPr>
        </p:nvSpPr>
        <p:spPr>
          <a:xfrm>
            <a:off x="844762" y="809626"/>
            <a:ext cx="8662987" cy="4956175"/>
          </a:xfrm>
        </p:spPr>
        <p:txBody>
          <a:bodyPr/>
          <a:lstStyle/>
          <a:p>
            <a:pPr>
              <a:buFont typeface="Wingdings" panose="05000000000000000000" pitchFamily="2" charset="2"/>
              <a:buNone/>
            </a:pPr>
            <a:endParaRPr lang="en-US" altLang="en-US" sz="1200" dirty="0"/>
          </a:p>
          <a:p>
            <a:pPr>
              <a:lnSpc>
                <a:spcPct val="80000"/>
              </a:lnSpc>
              <a:buFontTx/>
              <a:buNone/>
            </a:pPr>
            <a:endParaRPr lang="en-GB" altLang="en-US" dirty="0" smtClean="0">
              <a:latin typeface="Courier New" panose="02070309020205020404" pitchFamily="49" charset="0"/>
            </a:endParaRPr>
          </a:p>
          <a:p>
            <a:pPr>
              <a:lnSpc>
                <a:spcPct val="80000"/>
              </a:lnSpc>
            </a:pPr>
            <a:r>
              <a:rPr lang="en-US" altLang="en-US" dirty="0" smtClean="0"/>
              <a:t>The trigger body must have at least the executable section.  </a:t>
            </a:r>
          </a:p>
          <a:p>
            <a:pPr>
              <a:lnSpc>
                <a:spcPct val="80000"/>
              </a:lnSpc>
            </a:pPr>
            <a:r>
              <a:rPr lang="en-US" altLang="en-US" dirty="0" smtClean="0"/>
              <a:t>The declarative and exception handling sections are optional.  </a:t>
            </a:r>
          </a:p>
          <a:p>
            <a:pPr>
              <a:lnSpc>
                <a:spcPct val="80000"/>
              </a:lnSpc>
            </a:pPr>
            <a:r>
              <a:rPr lang="en-US" altLang="en-US" dirty="0" smtClean="0"/>
              <a:t>When there is a declarative section, the trigger body must start with the DECLARE keyword. </a:t>
            </a:r>
          </a:p>
          <a:p>
            <a:pPr>
              <a:lnSpc>
                <a:spcPct val="80000"/>
              </a:lnSpc>
            </a:pPr>
            <a:r>
              <a:rPr lang="en-GB" altLang="en-US" dirty="0" smtClean="0"/>
              <a:t>The WHEN clause specifies the condition under which a trigger should fire.</a:t>
            </a:r>
            <a:r>
              <a:rPr lang="en-US" altLang="en-US" dirty="0" smtClean="0"/>
              <a:t> </a:t>
            </a:r>
          </a:p>
          <a:p>
            <a:pPr>
              <a:buFont typeface="Wingdings" panose="05000000000000000000" pitchFamily="2" charset="2"/>
              <a:buNone/>
            </a:pPr>
            <a:endParaRPr lang="en-US" altLang="en-US" sz="1200" dirty="0"/>
          </a:p>
          <a:p>
            <a:pPr>
              <a:buFont typeface="Wingdings" panose="05000000000000000000" pitchFamily="2" charset="2"/>
              <a:buNone/>
            </a:pPr>
            <a:endParaRPr lang="en-US" altLang="en-US" sz="1200" dirty="0"/>
          </a:p>
        </p:txBody>
      </p:sp>
      <p:sp>
        <p:nvSpPr>
          <p:cNvPr id="44035" name="Title 4"/>
          <p:cNvSpPr>
            <a:spLocks noGrp="1"/>
          </p:cNvSpPr>
          <p:nvPr>
            <p:ph type="title" idx="4294967295"/>
          </p:nvPr>
        </p:nvSpPr>
        <p:spPr>
          <a:xfrm>
            <a:off x="381000" y="139701"/>
            <a:ext cx="7564438" cy="669925"/>
          </a:xfrm>
        </p:spPr>
        <p:txBody>
          <a:bodyPr/>
          <a:lstStyle/>
          <a:p>
            <a:pPr eaLnBrk="1" hangingPunct="1"/>
            <a:r>
              <a:rPr altLang="en-US" dirty="0" smtClean="0">
                <a:solidFill>
                  <a:schemeClr val="tx1"/>
                </a:solidFill>
              </a:rPr>
              <a:t>Trigger Syntax</a:t>
            </a:r>
          </a:p>
        </p:txBody>
      </p:sp>
    </p:spTree>
    <p:extLst>
      <p:ext uri="{BB962C8B-B14F-4D97-AF65-F5344CB8AC3E}">
        <p14:creationId xmlns:p14="http://schemas.microsoft.com/office/powerpoint/2010/main" val="88118171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Content Placeholder 5"/>
          <p:cNvSpPr>
            <a:spLocks noGrp="1"/>
          </p:cNvSpPr>
          <p:nvPr>
            <p:ph idx="4294967295"/>
          </p:nvPr>
        </p:nvSpPr>
        <p:spPr>
          <a:xfrm>
            <a:off x="732618" y="1176068"/>
            <a:ext cx="8662987" cy="4956175"/>
          </a:xfrm>
        </p:spPr>
        <p:txBody>
          <a:bodyPr/>
          <a:lstStyle/>
          <a:p>
            <a:pPr>
              <a:lnSpc>
                <a:spcPct val="90000"/>
              </a:lnSpc>
            </a:pPr>
            <a:endParaRPr lang="en-GB" altLang="en-US" dirty="0" smtClean="0"/>
          </a:p>
          <a:p>
            <a:pPr>
              <a:lnSpc>
                <a:spcPct val="90000"/>
              </a:lnSpc>
            </a:pPr>
            <a:r>
              <a:rPr lang="en-GB" altLang="en-US" dirty="0" smtClean="0"/>
              <a:t>BEFORE and AFTER Triggers – trigger fires before or after the triggering event.  Applies only to tables.</a:t>
            </a:r>
          </a:p>
          <a:p>
            <a:pPr>
              <a:lnSpc>
                <a:spcPct val="90000"/>
              </a:lnSpc>
              <a:buFont typeface="Wingdings" panose="05000000000000000000" pitchFamily="2" charset="2"/>
              <a:buNone/>
            </a:pPr>
            <a:endParaRPr lang="en-GB" altLang="en-US" dirty="0" smtClean="0"/>
          </a:p>
          <a:p>
            <a:pPr>
              <a:lnSpc>
                <a:spcPct val="90000"/>
              </a:lnSpc>
            </a:pPr>
            <a:r>
              <a:rPr lang="en-GB" altLang="en-US" dirty="0" smtClean="0"/>
              <a:t>INSTEAD OF Trigger – trigger fires instead of the triggering event.  Applies only to views.</a:t>
            </a:r>
          </a:p>
          <a:p>
            <a:pPr>
              <a:lnSpc>
                <a:spcPct val="90000"/>
              </a:lnSpc>
              <a:buFont typeface="Wingdings" panose="05000000000000000000" pitchFamily="2" charset="2"/>
              <a:buNone/>
            </a:pPr>
            <a:endParaRPr lang="en-GB" altLang="en-US" dirty="0" smtClean="0"/>
          </a:p>
          <a:p>
            <a:pPr>
              <a:lnSpc>
                <a:spcPct val="90000"/>
              </a:lnSpc>
            </a:pPr>
            <a:r>
              <a:rPr lang="en-GB" altLang="en-US" dirty="0" smtClean="0"/>
              <a:t>Triggering_event – a DML statement issued against the table or view named in the ON clause – example: INSERT, UPDATE, or DELETE.</a:t>
            </a:r>
          </a:p>
          <a:p>
            <a:pPr>
              <a:lnSpc>
                <a:spcPct val="90000"/>
              </a:lnSpc>
              <a:buFont typeface="Wingdings" panose="05000000000000000000" pitchFamily="2" charset="2"/>
              <a:buNone/>
            </a:pPr>
            <a:endParaRPr lang="en-GB" altLang="en-US" dirty="0" smtClean="0"/>
          </a:p>
          <a:p>
            <a:pPr>
              <a:lnSpc>
                <a:spcPct val="90000"/>
              </a:lnSpc>
            </a:pPr>
            <a:r>
              <a:rPr lang="en-US" altLang="en-US" dirty="0" smtClean="0"/>
              <a:t>DML triggers are fired by DML statements and are referred to sometimes as row triggers.</a:t>
            </a:r>
          </a:p>
          <a:p>
            <a:pPr>
              <a:lnSpc>
                <a:spcPct val="90000"/>
              </a:lnSpc>
              <a:buFont typeface="Wingdings" panose="05000000000000000000" pitchFamily="2" charset="2"/>
              <a:buNone/>
            </a:pPr>
            <a:r>
              <a:rPr lang="en-US" altLang="en-US" dirty="0" smtClean="0"/>
              <a:t> </a:t>
            </a:r>
          </a:p>
        </p:txBody>
      </p:sp>
      <p:sp>
        <p:nvSpPr>
          <p:cNvPr id="46083" name="Title 4"/>
          <p:cNvSpPr>
            <a:spLocks noGrp="1"/>
          </p:cNvSpPr>
          <p:nvPr>
            <p:ph type="title" idx="4294967295"/>
          </p:nvPr>
        </p:nvSpPr>
        <p:spPr>
          <a:xfrm>
            <a:off x="381000" y="139701"/>
            <a:ext cx="7564438" cy="669925"/>
          </a:xfrm>
        </p:spPr>
        <p:txBody>
          <a:bodyPr/>
          <a:lstStyle/>
          <a:p>
            <a:pPr eaLnBrk="1" hangingPunct="1"/>
            <a:r>
              <a:rPr altLang="en-US" dirty="0" smtClean="0">
                <a:solidFill>
                  <a:schemeClr val="tx1"/>
                </a:solidFill>
              </a:rPr>
              <a:t>Trigger Types</a:t>
            </a:r>
          </a:p>
        </p:txBody>
      </p:sp>
    </p:spTree>
    <p:extLst>
      <p:ext uri="{BB962C8B-B14F-4D97-AF65-F5344CB8AC3E}">
        <p14:creationId xmlns:p14="http://schemas.microsoft.com/office/powerpoint/2010/main" val="146061745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Content Placeholder 5"/>
          <p:cNvSpPr>
            <a:spLocks noGrp="1"/>
          </p:cNvSpPr>
          <p:nvPr>
            <p:ph idx="4294967295"/>
          </p:nvPr>
        </p:nvSpPr>
        <p:spPr>
          <a:xfrm>
            <a:off x="870641" y="891397"/>
            <a:ext cx="8662987" cy="4956175"/>
          </a:xfrm>
        </p:spPr>
        <p:txBody>
          <a:bodyPr/>
          <a:lstStyle/>
          <a:p>
            <a:pPr>
              <a:lnSpc>
                <a:spcPct val="90000"/>
              </a:lnSpc>
            </a:pPr>
            <a:endParaRPr lang="en-GB" altLang="en-US" dirty="0" smtClean="0"/>
          </a:p>
          <a:p>
            <a:pPr>
              <a:lnSpc>
                <a:spcPct val="90000"/>
              </a:lnSpc>
              <a:buFont typeface="Wingdings" panose="05000000000000000000" pitchFamily="2" charset="2"/>
              <a:buNone/>
            </a:pPr>
            <a:r>
              <a:rPr lang="en-US" altLang="en-US" dirty="0" smtClean="0"/>
              <a:t> </a:t>
            </a:r>
          </a:p>
          <a:p>
            <a:pPr>
              <a:lnSpc>
                <a:spcPct val="90000"/>
              </a:lnSpc>
            </a:pPr>
            <a:r>
              <a:rPr lang="en-US" altLang="en-US" dirty="0" smtClean="0"/>
              <a:t>FOR EACH ROW clause – a ROW trigger that fires once for each modified row. </a:t>
            </a:r>
          </a:p>
          <a:p>
            <a:pPr>
              <a:lnSpc>
                <a:spcPct val="90000"/>
              </a:lnSpc>
              <a:buFont typeface="Wingdings" panose="05000000000000000000" pitchFamily="2" charset="2"/>
              <a:buNone/>
            </a:pPr>
            <a:r>
              <a:rPr lang="en-US" altLang="en-US" dirty="0" smtClean="0"/>
              <a:t> </a:t>
            </a:r>
          </a:p>
          <a:p>
            <a:pPr>
              <a:lnSpc>
                <a:spcPct val="90000"/>
              </a:lnSpc>
            </a:pPr>
            <a:r>
              <a:rPr lang="en-US" altLang="en-US" dirty="0" smtClean="0"/>
              <a:t>STATEMENT trigger – fires once for the DML statement.</a:t>
            </a:r>
          </a:p>
          <a:p>
            <a:pPr>
              <a:lnSpc>
                <a:spcPct val="90000"/>
              </a:lnSpc>
              <a:buFont typeface="Wingdings" panose="05000000000000000000" pitchFamily="2" charset="2"/>
              <a:buNone/>
            </a:pPr>
            <a:endParaRPr lang="en-US" altLang="en-US" dirty="0" smtClean="0"/>
          </a:p>
          <a:p>
            <a:pPr>
              <a:lnSpc>
                <a:spcPct val="90000"/>
              </a:lnSpc>
            </a:pPr>
            <a:r>
              <a:rPr lang="en-US" altLang="en-US" dirty="0" smtClean="0"/>
              <a:t>Referencing_clause – enables writing code to refer to the data in the row currently being modified by a different name</a:t>
            </a:r>
            <a:r>
              <a:rPr lang="en-US" altLang="en-US" sz="1200" dirty="0"/>
              <a:t>. </a:t>
            </a:r>
          </a:p>
        </p:txBody>
      </p:sp>
      <p:sp>
        <p:nvSpPr>
          <p:cNvPr id="46083" name="Title 4"/>
          <p:cNvSpPr>
            <a:spLocks noGrp="1"/>
          </p:cNvSpPr>
          <p:nvPr>
            <p:ph type="title" idx="4294967295"/>
          </p:nvPr>
        </p:nvSpPr>
        <p:spPr>
          <a:xfrm>
            <a:off x="381000" y="139701"/>
            <a:ext cx="7564438" cy="669925"/>
          </a:xfrm>
        </p:spPr>
        <p:txBody>
          <a:bodyPr/>
          <a:lstStyle/>
          <a:p>
            <a:pPr eaLnBrk="1" hangingPunct="1"/>
            <a:r>
              <a:rPr altLang="en-US" dirty="0" smtClean="0">
                <a:solidFill>
                  <a:schemeClr val="tx1"/>
                </a:solidFill>
              </a:rPr>
              <a:t>Trigger Types</a:t>
            </a:r>
          </a:p>
        </p:txBody>
      </p:sp>
    </p:spTree>
    <p:extLst>
      <p:ext uri="{BB962C8B-B14F-4D97-AF65-F5344CB8AC3E}">
        <p14:creationId xmlns:p14="http://schemas.microsoft.com/office/powerpoint/2010/main" val="170141120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4294967295"/>
          </p:nvPr>
        </p:nvGraphicFramePr>
        <p:xfrm>
          <a:off x="862013" y="1447800"/>
          <a:ext cx="8662986" cy="3597274"/>
        </p:xfrm>
        <a:graphic>
          <a:graphicData uri="http://schemas.openxmlformats.org/drawingml/2006/table">
            <a:tbl>
              <a:tblPr firstRow="1" bandRow="1">
                <a:tableStyleId>{5A111915-BE36-4E01-A7E5-04B1672EAD32}</a:tableStyleId>
              </a:tblPr>
              <a:tblGrid>
                <a:gridCol w="2887662"/>
                <a:gridCol w="2887662"/>
                <a:gridCol w="2887662"/>
              </a:tblGrid>
              <a:tr h="39631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2000" u="none" strike="noStrike" cap="none" normalizeH="0" baseline="0" dirty="0" smtClean="0">
                          <a:ln>
                            <a:noFill/>
                          </a:ln>
                          <a:effectLst>
                            <a:outerShdw blurRad="38100" dist="38100" dir="2700000" algn="tl">
                              <a:srgbClr val="000000"/>
                            </a:outerShdw>
                          </a:effectLst>
                        </a:rPr>
                        <a:t>DML Statement</a:t>
                      </a:r>
                      <a:r>
                        <a:rPr kumimoji="0" lang="en-US" sz="2000" u="none" strike="noStrike" cap="none" normalizeH="0" baseline="0" dirty="0" smtClean="0">
                          <a:ln>
                            <a:noFill/>
                          </a:ln>
                          <a:effectLst>
                            <a:outerShdw blurRad="38100" dist="38100" dir="2700000" algn="tl">
                              <a:srgbClr val="000000"/>
                            </a:outerShdw>
                          </a:effectLst>
                        </a:rPr>
                        <a:t> </a:t>
                      </a:r>
                      <a:endParaRPr kumimoji="0" lang="en-US" sz="2000" b="0" i="0" u="none" strike="noStrike" cap="none" normalizeH="0" baseline="0" dirty="0" smtClean="0">
                        <a:ln>
                          <a:noFill/>
                        </a:ln>
                        <a:solidFill>
                          <a:srgbClr val="FFCC00"/>
                        </a:solidFill>
                        <a:effectLst>
                          <a:outerShdw blurRad="38100" dist="38100" dir="2700000" algn="tl">
                            <a:srgbClr val="000000"/>
                          </a:outerShdw>
                        </a:effectLst>
                        <a:latin typeface="Times New Roman" pitchFamily="18" charset="0"/>
                      </a:endParaRPr>
                    </a:p>
                  </a:txBody>
                  <a:tcPr marT="45728" marB="45728"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000" u="none" strike="noStrike" cap="none" normalizeH="0" baseline="0" smtClean="0">
                          <a:ln>
                            <a:noFill/>
                          </a:ln>
                          <a:effectLst>
                            <a:outerShdw blurRad="38100" dist="38100" dir="2700000" algn="tl">
                              <a:srgbClr val="000000"/>
                            </a:outerShdw>
                          </a:effectLst>
                        </a:rPr>
                        <a:t> :old</a:t>
                      </a:r>
                      <a:endParaRPr kumimoji="0" lang="en-US" sz="2000" b="0" i="0" u="none" strike="noStrike" cap="none" normalizeH="0" baseline="0" smtClean="0">
                        <a:ln>
                          <a:noFill/>
                        </a:ln>
                        <a:solidFill>
                          <a:srgbClr val="FFCC00"/>
                        </a:solidFill>
                        <a:effectLst>
                          <a:outerShdw blurRad="38100" dist="38100" dir="2700000" algn="tl">
                            <a:srgbClr val="000000"/>
                          </a:outerShdw>
                        </a:effectLst>
                        <a:latin typeface="Times New Roman" pitchFamily="18" charset="0"/>
                      </a:endParaRPr>
                    </a:p>
                  </a:txBody>
                  <a:tcPr marT="45728" marB="45728"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000" u="none" strike="noStrike" cap="none" normalizeH="0" baseline="0" smtClean="0">
                          <a:ln>
                            <a:noFill/>
                          </a:ln>
                          <a:effectLst>
                            <a:outerShdw blurRad="38100" dist="38100" dir="2700000" algn="tl">
                              <a:srgbClr val="000000"/>
                            </a:outerShdw>
                          </a:effectLst>
                        </a:rPr>
                        <a:t> :new</a:t>
                      </a:r>
                      <a:endParaRPr kumimoji="0" lang="en-US" sz="2000" b="0" i="0" u="none" strike="noStrike" cap="none" normalizeH="0" baseline="0" smtClean="0">
                        <a:ln>
                          <a:noFill/>
                        </a:ln>
                        <a:solidFill>
                          <a:srgbClr val="FFCC00"/>
                        </a:solidFill>
                        <a:effectLst>
                          <a:outerShdw blurRad="38100" dist="38100" dir="2700000" algn="tl">
                            <a:srgbClr val="000000"/>
                          </a:outerShdw>
                        </a:effectLst>
                        <a:latin typeface="Times New Roman" pitchFamily="18" charset="0"/>
                      </a:endParaRPr>
                    </a:p>
                  </a:txBody>
                  <a:tcPr marT="45728" marB="45728" horzOverflow="overflow"/>
                </a:tc>
              </a:tr>
              <a:tr h="106698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u="none" strike="noStrike" cap="none" normalizeH="0" baseline="0" dirty="0" smtClean="0">
                          <a:ln>
                            <a:noFill/>
                          </a:ln>
                          <a:effectLst>
                            <a:outerShdw blurRad="38100" dist="38100" dir="2700000" algn="tl">
                              <a:srgbClr val="000000"/>
                            </a:outerShdw>
                          </a:effectLst>
                        </a:rPr>
                        <a:t>INSERT</a:t>
                      </a:r>
                      <a:endParaRPr kumimoji="0" lang="en-US" sz="1600" b="0" i="0" u="none" strike="noStrike" cap="none" normalizeH="0" baseline="0" dirty="0" smtClean="0">
                        <a:ln>
                          <a:noFill/>
                        </a:ln>
                        <a:solidFill>
                          <a:srgbClr val="FFCC00"/>
                        </a:solidFill>
                        <a:effectLst>
                          <a:outerShdw blurRad="38100" dist="38100" dir="2700000" algn="tl">
                            <a:srgbClr val="000000"/>
                          </a:outerShdw>
                        </a:effectLst>
                        <a:latin typeface="Times New Roman" pitchFamily="18" charset="0"/>
                      </a:endParaRPr>
                    </a:p>
                  </a:txBody>
                  <a:tcPr marT="45728" marB="45728"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600" b="0" u="none" strike="noStrike" cap="none" normalizeH="0" baseline="0" smtClean="0">
                          <a:ln>
                            <a:noFill/>
                          </a:ln>
                          <a:effectLst>
                            <a:outerShdw blurRad="38100" dist="38100" dir="2700000" algn="tl">
                              <a:srgbClr val="000000"/>
                            </a:outerShdw>
                          </a:effectLst>
                        </a:rPr>
                        <a:t>Undefined – all column values are NULL as there is no “old” version of the data row being inserted.</a:t>
                      </a:r>
                      <a:r>
                        <a:rPr kumimoji="0" lang="en-US" sz="1600" b="0" u="none" strike="noStrike" cap="none" normalizeH="0" baseline="0" smtClean="0">
                          <a:ln>
                            <a:noFill/>
                          </a:ln>
                          <a:effectLst>
                            <a:outerShdw blurRad="38100" dist="38100" dir="2700000" algn="tl">
                              <a:srgbClr val="000000"/>
                            </a:outerShdw>
                          </a:effectLst>
                        </a:rPr>
                        <a:t> </a:t>
                      </a:r>
                      <a:endParaRPr kumimoji="0" lang="en-US" sz="1600" b="0" i="0" u="none" strike="noStrike" cap="none" normalizeH="0" baseline="0" smtClean="0">
                        <a:ln>
                          <a:noFill/>
                        </a:ln>
                        <a:solidFill>
                          <a:srgbClr val="FFCC00"/>
                        </a:solidFill>
                        <a:effectLst>
                          <a:outerShdw blurRad="38100" dist="38100" dir="2700000" algn="tl">
                            <a:srgbClr val="000000"/>
                          </a:outerShdw>
                        </a:effectLst>
                        <a:latin typeface="Times New Roman" pitchFamily="18" charset="0"/>
                      </a:endParaRPr>
                    </a:p>
                  </a:txBody>
                  <a:tcPr marT="45728" marB="45728"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600" b="0" u="none" strike="noStrike" cap="none" normalizeH="0" baseline="0" smtClean="0">
                          <a:ln>
                            <a:noFill/>
                          </a:ln>
                          <a:effectLst>
                            <a:outerShdw blurRad="38100" dist="38100" dir="2700000" algn="tl">
                              <a:srgbClr val="000000"/>
                            </a:outerShdw>
                          </a:effectLst>
                        </a:rPr>
                        <a:t>Stores the values that will be inserted into the new row for the table.</a:t>
                      </a:r>
                      <a:r>
                        <a:rPr kumimoji="0" lang="en-US" sz="1600" b="0" u="none" strike="noStrike" cap="none" normalizeH="0" baseline="0" smtClean="0">
                          <a:ln>
                            <a:noFill/>
                          </a:ln>
                          <a:effectLst>
                            <a:outerShdw blurRad="38100" dist="38100" dir="2700000" algn="tl">
                              <a:srgbClr val="000000"/>
                            </a:outerShdw>
                          </a:effectLst>
                        </a:rPr>
                        <a:t> </a:t>
                      </a:r>
                      <a:endParaRPr kumimoji="0" lang="en-US" sz="1600" b="0" i="0" u="none" strike="noStrike" cap="none" normalizeH="0" baseline="0" smtClean="0">
                        <a:ln>
                          <a:noFill/>
                        </a:ln>
                        <a:solidFill>
                          <a:srgbClr val="FFCC00"/>
                        </a:solidFill>
                        <a:effectLst>
                          <a:outerShdw blurRad="38100" dist="38100" dir="2700000" algn="tl">
                            <a:srgbClr val="000000"/>
                          </a:outerShdw>
                        </a:effectLst>
                        <a:latin typeface="Times New Roman" pitchFamily="18" charset="0"/>
                      </a:endParaRPr>
                    </a:p>
                  </a:txBody>
                  <a:tcPr marT="45728" marB="45728" horzOverflow="overflow"/>
                </a:tc>
              </a:tr>
              <a:tr h="106698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u="none" strike="noStrike" cap="none" normalizeH="0" baseline="0" smtClean="0">
                          <a:ln>
                            <a:noFill/>
                          </a:ln>
                          <a:effectLst>
                            <a:outerShdw blurRad="38100" dist="38100" dir="2700000" algn="tl">
                              <a:srgbClr val="000000"/>
                            </a:outerShdw>
                          </a:effectLst>
                        </a:rPr>
                        <a:t>UPDATE</a:t>
                      </a:r>
                      <a:endParaRPr kumimoji="0" lang="en-US" sz="1600" b="0" i="0" u="none" strike="noStrike" cap="none" normalizeH="0" baseline="0" smtClean="0">
                        <a:ln>
                          <a:noFill/>
                        </a:ln>
                        <a:solidFill>
                          <a:srgbClr val="FFCC00"/>
                        </a:solidFill>
                        <a:effectLst>
                          <a:outerShdw blurRad="38100" dist="38100" dir="2700000" algn="tl">
                            <a:srgbClr val="000000"/>
                          </a:outerShdw>
                        </a:effectLst>
                        <a:latin typeface="Times New Roman" pitchFamily="18" charset="0"/>
                      </a:endParaRPr>
                    </a:p>
                  </a:txBody>
                  <a:tcPr marT="45728" marB="45728"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600" b="0" u="none" strike="noStrike" cap="none" normalizeH="0" baseline="0" dirty="0" smtClean="0">
                          <a:ln>
                            <a:noFill/>
                          </a:ln>
                          <a:effectLst>
                            <a:outerShdw blurRad="38100" dist="38100" dir="2700000" algn="tl">
                              <a:srgbClr val="000000"/>
                            </a:outerShdw>
                          </a:effectLst>
                        </a:rPr>
                        <a:t>Stores the original values for the row being updated before the update takes place</a:t>
                      </a:r>
                      <a:endParaRPr kumimoji="0" lang="en-US" sz="1600" b="0" i="0" u="none" strike="noStrike" cap="none" normalizeH="0" baseline="0" dirty="0" smtClean="0">
                        <a:ln>
                          <a:noFill/>
                        </a:ln>
                        <a:solidFill>
                          <a:srgbClr val="FFCC00"/>
                        </a:solidFill>
                        <a:effectLst>
                          <a:outerShdw blurRad="38100" dist="38100" dir="2700000" algn="tl">
                            <a:srgbClr val="000000"/>
                          </a:outerShdw>
                        </a:effectLst>
                        <a:latin typeface="Times New Roman" pitchFamily="18" charset="0"/>
                      </a:endParaRPr>
                    </a:p>
                  </a:txBody>
                  <a:tcPr marT="45728" marB="45728"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600" b="0" u="none" strike="noStrike" cap="none" normalizeH="0" baseline="0" dirty="0" smtClean="0">
                          <a:ln>
                            <a:noFill/>
                          </a:ln>
                          <a:effectLst>
                            <a:outerShdw blurRad="38100" dist="38100" dir="2700000" algn="tl">
                              <a:srgbClr val="000000"/>
                            </a:outerShdw>
                          </a:effectLst>
                        </a:rPr>
                        <a:t>Stores the new values for the row – values the row will contain after the update takes place.</a:t>
                      </a:r>
                      <a:r>
                        <a:rPr kumimoji="0" lang="en-US" sz="1600" b="0" u="none" strike="noStrike" cap="none" normalizeH="0" baseline="0" dirty="0" smtClean="0">
                          <a:ln>
                            <a:noFill/>
                          </a:ln>
                          <a:effectLst>
                            <a:outerShdw blurRad="38100" dist="38100" dir="2700000" algn="tl">
                              <a:srgbClr val="000000"/>
                            </a:outerShdw>
                          </a:effectLst>
                        </a:rPr>
                        <a:t> </a:t>
                      </a:r>
                      <a:endParaRPr kumimoji="0" lang="en-US" sz="1600" b="0" i="0" u="none" strike="noStrike" cap="none" normalizeH="0" baseline="0" dirty="0" smtClean="0">
                        <a:ln>
                          <a:noFill/>
                        </a:ln>
                        <a:solidFill>
                          <a:srgbClr val="FFCC00"/>
                        </a:solidFill>
                        <a:effectLst>
                          <a:outerShdw blurRad="38100" dist="38100" dir="2700000" algn="tl">
                            <a:srgbClr val="000000"/>
                          </a:outerShdw>
                        </a:effectLst>
                        <a:latin typeface="Times New Roman" pitchFamily="18" charset="0"/>
                      </a:endParaRPr>
                    </a:p>
                  </a:txBody>
                  <a:tcPr marT="45728" marB="45728" horzOverflow="overflow"/>
                </a:tc>
              </a:tr>
              <a:tr h="106698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u="none" strike="noStrike" cap="none" normalizeH="0" baseline="0" smtClean="0">
                          <a:ln>
                            <a:noFill/>
                          </a:ln>
                          <a:effectLst>
                            <a:outerShdw blurRad="38100" dist="38100" dir="2700000" algn="tl">
                              <a:srgbClr val="000000"/>
                            </a:outerShdw>
                          </a:effectLst>
                        </a:rPr>
                        <a:t>DELETE</a:t>
                      </a:r>
                      <a:endParaRPr kumimoji="0" lang="en-US" sz="1600" b="0" i="0" u="none" strike="noStrike" cap="none" normalizeH="0" baseline="0" smtClean="0">
                        <a:ln>
                          <a:noFill/>
                        </a:ln>
                        <a:solidFill>
                          <a:srgbClr val="FFCC00"/>
                        </a:solidFill>
                        <a:effectLst>
                          <a:outerShdw blurRad="38100" dist="38100" dir="2700000" algn="tl">
                            <a:srgbClr val="000000"/>
                          </a:outerShdw>
                        </a:effectLst>
                        <a:latin typeface="Times New Roman" pitchFamily="18" charset="0"/>
                      </a:endParaRPr>
                    </a:p>
                  </a:txBody>
                  <a:tcPr marT="45728" marB="45728"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600" b="0" u="none" strike="noStrike" cap="none" normalizeH="0" baseline="0" dirty="0" smtClean="0">
                          <a:ln>
                            <a:noFill/>
                          </a:ln>
                          <a:effectLst>
                            <a:outerShdw blurRad="38100" dist="38100" dir="2700000" algn="tl">
                              <a:srgbClr val="000000"/>
                            </a:outerShdw>
                          </a:effectLst>
                        </a:rPr>
                        <a:t>Stores the original values for the row being deleted before the deletion takes place.</a:t>
                      </a:r>
                      <a:r>
                        <a:rPr kumimoji="0" lang="en-US" sz="1600" b="0" u="none" strike="noStrike" cap="none" normalizeH="0" baseline="0" dirty="0" smtClean="0">
                          <a:ln>
                            <a:noFill/>
                          </a:ln>
                          <a:effectLst>
                            <a:outerShdw blurRad="38100" dist="38100" dir="2700000" algn="tl">
                              <a:srgbClr val="000000"/>
                            </a:outerShdw>
                          </a:effectLst>
                        </a:rPr>
                        <a:t> </a:t>
                      </a:r>
                      <a:endParaRPr kumimoji="0" lang="en-US" sz="1600" b="0" i="0" u="none" strike="noStrike" cap="none" normalizeH="0" baseline="0" dirty="0" smtClean="0">
                        <a:ln>
                          <a:noFill/>
                        </a:ln>
                        <a:solidFill>
                          <a:srgbClr val="FFCC00"/>
                        </a:solidFill>
                        <a:effectLst>
                          <a:outerShdw blurRad="38100" dist="38100" dir="2700000" algn="tl">
                            <a:srgbClr val="000000"/>
                          </a:outerShdw>
                        </a:effectLst>
                        <a:latin typeface="Times New Roman" pitchFamily="18" charset="0"/>
                      </a:endParaRPr>
                    </a:p>
                  </a:txBody>
                  <a:tcPr marT="45728" marB="45728"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600" b="0" u="none" strike="noStrike" cap="none" normalizeH="0" baseline="0" dirty="0" smtClean="0">
                          <a:ln>
                            <a:noFill/>
                          </a:ln>
                          <a:effectLst>
                            <a:outerShdw blurRad="38100" dist="38100" dir="2700000" algn="tl">
                              <a:srgbClr val="000000"/>
                            </a:outerShdw>
                          </a:effectLst>
                        </a:rPr>
                        <a:t>Undefined – all column values are NULL as there will not be a “new” version of the row being deleted.</a:t>
                      </a:r>
                      <a:r>
                        <a:rPr kumimoji="0" lang="en-US" sz="1600" b="0" u="none" strike="noStrike" cap="none" normalizeH="0" baseline="0" dirty="0" smtClean="0">
                          <a:ln>
                            <a:noFill/>
                          </a:ln>
                          <a:effectLst>
                            <a:outerShdw blurRad="38100" dist="38100" dir="2700000" algn="tl">
                              <a:srgbClr val="000000"/>
                            </a:outerShdw>
                          </a:effectLst>
                        </a:rPr>
                        <a:t> </a:t>
                      </a:r>
                      <a:endParaRPr kumimoji="0" lang="en-US" sz="1600" b="0" i="0" u="none" strike="noStrike" cap="none" normalizeH="0" baseline="0" dirty="0" smtClean="0">
                        <a:ln>
                          <a:noFill/>
                        </a:ln>
                        <a:solidFill>
                          <a:srgbClr val="FFCC00"/>
                        </a:solidFill>
                        <a:effectLst>
                          <a:outerShdw blurRad="38100" dist="38100" dir="2700000" algn="tl">
                            <a:srgbClr val="000000"/>
                          </a:outerShdw>
                        </a:effectLst>
                        <a:latin typeface="Times New Roman" pitchFamily="18" charset="0"/>
                      </a:endParaRPr>
                    </a:p>
                  </a:txBody>
                  <a:tcPr marT="45728" marB="45728" horzOverflow="overflow"/>
                </a:tc>
              </a:tr>
            </a:tbl>
          </a:graphicData>
        </a:graphic>
      </p:graphicFrame>
      <p:sp>
        <p:nvSpPr>
          <p:cNvPr id="47126" name="Title 4"/>
          <p:cNvSpPr>
            <a:spLocks noGrp="1"/>
          </p:cNvSpPr>
          <p:nvPr>
            <p:ph type="title" idx="4294967295"/>
          </p:nvPr>
        </p:nvSpPr>
        <p:spPr>
          <a:xfrm>
            <a:off x="381000" y="368301"/>
            <a:ext cx="7564438" cy="669925"/>
          </a:xfrm>
        </p:spPr>
        <p:txBody>
          <a:bodyPr/>
          <a:lstStyle/>
          <a:p>
            <a:pPr eaLnBrk="1" hangingPunct="1"/>
            <a:r>
              <a:rPr lang="en-GB" altLang="en-US" dirty="0" smtClean="0">
                <a:solidFill>
                  <a:schemeClr val="tx1"/>
                </a:solidFill>
              </a:rPr>
              <a:t>Bind Variables :old and :new Defined</a:t>
            </a:r>
            <a:endParaRPr altLang="en-US" b="0" dirty="0" smtClean="0">
              <a:solidFill>
                <a:schemeClr val="tx1"/>
              </a:solidFill>
            </a:endParaRPr>
          </a:p>
        </p:txBody>
      </p:sp>
    </p:spTree>
    <p:extLst>
      <p:ext uri="{BB962C8B-B14F-4D97-AF65-F5344CB8AC3E}">
        <p14:creationId xmlns:p14="http://schemas.microsoft.com/office/powerpoint/2010/main" val="259492999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Content Placeholder 5"/>
          <p:cNvSpPr>
            <a:spLocks noGrp="1"/>
          </p:cNvSpPr>
          <p:nvPr>
            <p:ph idx="4294967295"/>
          </p:nvPr>
        </p:nvSpPr>
        <p:spPr>
          <a:xfrm>
            <a:off x="844761" y="1029420"/>
            <a:ext cx="8662987" cy="4956175"/>
          </a:xfrm>
        </p:spPr>
        <p:txBody>
          <a:bodyPr/>
          <a:lstStyle/>
          <a:p>
            <a:pPr>
              <a:lnSpc>
                <a:spcPct val="90000"/>
              </a:lnSpc>
              <a:buFont typeface="Wingdings" panose="05000000000000000000" pitchFamily="2" charset="2"/>
              <a:buNone/>
            </a:pPr>
            <a:r>
              <a:rPr lang="en-GB" altLang="en-US" sz="1400" dirty="0"/>
              <a:t>CREATE OR REPLACE TRIGGER </a:t>
            </a:r>
            <a:r>
              <a:rPr lang="en-GB" altLang="en-US" sz="1400" dirty="0" err="1"/>
              <a:t>AuditEquipment</a:t>
            </a:r>
            <a:r>
              <a:rPr lang="en-GB" altLang="en-US" sz="1400" dirty="0"/>
              <a:t> </a:t>
            </a:r>
          </a:p>
          <a:p>
            <a:pPr>
              <a:lnSpc>
                <a:spcPct val="90000"/>
              </a:lnSpc>
              <a:buFont typeface="Wingdings" panose="05000000000000000000" pitchFamily="2" charset="2"/>
              <a:buNone/>
            </a:pPr>
            <a:r>
              <a:rPr lang="en-GB" altLang="en-US" sz="1400" dirty="0"/>
              <a:t>AFTER DELETE OR INSERT OR UPDATE ON Equipment </a:t>
            </a:r>
          </a:p>
          <a:p>
            <a:pPr>
              <a:lnSpc>
                <a:spcPct val="90000"/>
              </a:lnSpc>
              <a:buFont typeface="Wingdings" panose="05000000000000000000" pitchFamily="2" charset="2"/>
              <a:buNone/>
            </a:pPr>
            <a:r>
              <a:rPr lang="en-GB" altLang="en-US" sz="1400" dirty="0"/>
              <a:t>FOR EACH ROW</a:t>
            </a:r>
          </a:p>
          <a:p>
            <a:pPr>
              <a:lnSpc>
                <a:spcPct val="90000"/>
              </a:lnSpc>
              <a:buFont typeface="Wingdings" panose="05000000000000000000" pitchFamily="2" charset="2"/>
              <a:buNone/>
            </a:pPr>
            <a:r>
              <a:rPr lang="en-GB" altLang="en-US" sz="1400" dirty="0"/>
              <a:t>BEGIN   </a:t>
            </a:r>
          </a:p>
          <a:p>
            <a:pPr>
              <a:lnSpc>
                <a:spcPct val="90000"/>
              </a:lnSpc>
              <a:buFont typeface="Wingdings" panose="05000000000000000000" pitchFamily="2" charset="2"/>
              <a:buNone/>
            </a:pPr>
            <a:r>
              <a:rPr lang="en-GB" altLang="en-US" sz="1400" dirty="0"/>
              <a:t>  IF DELETING THEN </a:t>
            </a:r>
          </a:p>
          <a:p>
            <a:pPr>
              <a:lnSpc>
                <a:spcPct val="90000"/>
              </a:lnSpc>
              <a:buFont typeface="Wingdings" panose="05000000000000000000" pitchFamily="2" charset="2"/>
              <a:buNone/>
            </a:pPr>
            <a:r>
              <a:rPr lang="en-GB" altLang="en-US" sz="1400" dirty="0"/>
              <a:t>     INSERT INTO </a:t>
            </a:r>
            <a:r>
              <a:rPr lang="en-GB" altLang="en-US" sz="1400" dirty="0" err="1"/>
              <a:t>equipment_audit</a:t>
            </a:r>
            <a:r>
              <a:rPr lang="en-GB" altLang="en-US" sz="1400" dirty="0"/>
              <a:t> VALUES ('DELETE', SYSDATE,</a:t>
            </a:r>
          </a:p>
          <a:p>
            <a:pPr>
              <a:lnSpc>
                <a:spcPct val="90000"/>
              </a:lnSpc>
              <a:buFont typeface="Wingdings" panose="05000000000000000000" pitchFamily="2" charset="2"/>
              <a:buNone/>
            </a:pPr>
            <a:r>
              <a:rPr lang="en-GB" altLang="en-US" sz="1400" dirty="0"/>
              <a:t>         :</a:t>
            </a:r>
            <a:r>
              <a:rPr lang="en-GB" altLang="en-US" sz="1400" dirty="0" err="1"/>
              <a:t>old.EquipmentNumber</a:t>
            </a:r>
            <a:r>
              <a:rPr lang="en-GB" altLang="en-US" sz="1400" dirty="0"/>
              <a:t>, :</a:t>
            </a:r>
            <a:r>
              <a:rPr lang="en-GB" altLang="en-US" sz="1400" dirty="0" err="1"/>
              <a:t>old.Description</a:t>
            </a:r>
            <a:r>
              <a:rPr lang="en-GB" altLang="en-US" sz="1400" dirty="0"/>
              <a:t>, :</a:t>
            </a:r>
            <a:r>
              <a:rPr lang="en-GB" altLang="en-US" sz="1400" dirty="0" err="1"/>
              <a:t>old.OriginalCost</a:t>
            </a:r>
            <a:r>
              <a:rPr lang="en-GB" altLang="en-US" sz="1400" dirty="0"/>
              <a:t>,</a:t>
            </a:r>
          </a:p>
          <a:p>
            <a:pPr>
              <a:lnSpc>
                <a:spcPct val="90000"/>
              </a:lnSpc>
              <a:buFont typeface="Wingdings" panose="05000000000000000000" pitchFamily="2" charset="2"/>
              <a:buNone/>
            </a:pPr>
            <a:r>
              <a:rPr lang="en-GB" altLang="en-US" sz="1400" dirty="0"/>
              <a:t>         :</a:t>
            </a:r>
            <a:r>
              <a:rPr lang="en-GB" altLang="en-US" sz="1400" dirty="0" err="1"/>
              <a:t>old.QuantityAvailable</a:t>
            </a:r>
            <a:r>
              <a:rPr lang="en-GB" altLang="en-US" sz="1400" dirty="0"/>
              <a:t>, :</a:t>
            </a:r>
            <a:r>
              <a:rPr lang="en-GB" altLang="en-US" sz="1400" dirty="0" err="1"/>
              <a:t>old.ProjectNumber</a:t>
            </a:r>
            <a:r>
              <a:rPr lang="en-GB" altLang="en-US" sz="1400" dirty="0"/>
              <a:t>);</a:t>
            </a:r>
          </a:p>
          <a:p>
            <a:pPr>
              <a:lnSpc>
                <a:spcPct val="90000"/>
              </a:lnSpc>
              <a:buFont typeface="Wingdings" panose="05000000000000000000" pitchFamily="2" charset="2"/>
              <a:buNone/>
            </a:pPr>
            <a:r>
              <a:rPr lang="en-GB" altLang="en-US" sz="1400" dirty="0"/>
              <a:t>  ELSIF INSERTING THEN</a:t>
            </a:r>
          </a:p>
          <a:p>
            <a:pPr>
              <a:lnSpc>
                <a:spcPct val="90000"/>
              </a:lnSpc>
              <a:buFont typeface="Wingdings" panose="05000000000000000000" pitchFamily="2" charset="2"/>
              <a:buNone/>
            </a:pPr>
            <a:r>
              <a:rPr lang="en-GB" altLang="en-US" sz="1400" dirty="0"/>
              <a:t>     INSERT INTO </a:t>
            </a:r>
            <a:r>
              <a:rPr lang="en-GB" altLang="en-US" sz="1400" dirty="0" err="1"/>
              <a:t>equipment_audit</a:t>
            </a:r>
            <a:r>
              <a:rPr lang="en-GB" altLang="en-US" sz="1400" dirty="0"/>
              <a:t> VALUES ('INSERT', SYSDATE, </a:t>
            </a:r>
          </a:p>
          <a:p>
            <a:pPr>
              <a:lnSpc>
                <a:spcPct val="90000"/>
              </a:lnSpc>
              <a:buFont typeface="Wingdings" panose="05000000000000000000" pitchFamily="2" charset="2"/>
              <a:buNone/>
            </a:pPr>
            <a:r>
              <a:rPr lang="en-GB" altLang="en-US" sz="1400" dirty="0"/>
              <a:t>         :</a:t>
            </a:r>
            <a:r>
              <a:rPr lang="en-GB" altLang="en-US" sz="1400" dirty="0" err="1"/>
              <a:t>new.EquipmentNumber</a:t>
            </a:r>
            <a:r>
              <a:rPr lang="en-GB" altLang="en-US" sz="1400" dirty="0"/>
              <a:t>, :</a:t>
            </a:r>
            <a:r>
              <a:rPr lang="en-GB" altLang="en-US" sz="1400" dirty="0" err="1"/>
              <a:t>new.Description</a:t>
            </a:r>
            <a:r>
              <a:rPr lang="en-GB" altLang="en-US" sz="1400" dirty="0"/>
              <a:t>, :</a:t>
            </a:r>
            <a:r>
              <a:rPr lang="en-GB" altLang="en-US" sz="1400" dirty="0" err="1"/>
              <a:t>new.OriginalCost</a:t>
            </a:r>
            <a:r>
              <a:rPr lang="en-GB" altLang="en-US" sz="1400" dirty="0"/>
              <a:t>,</a:t>
            </a:r>
          </a:p>
          <a:p>
            <a:pPr>
              <a:lnSpc>
                <a:spcPct val="90000"/>
              </a:lnSpc>
              <a:buFont typeface="Wingdings" panose="05000000000000000000" pitchFamily="2" charset="2"/>
              <a:buNone/>
            </a:pPr>
            <a:r>
              <a:rPr lang="en-GB" altLang="en-US" sz="1400" dirty="0"/>
              <a:t>         :</a:t>
            </a:r>
            <a:r>
              <a:rPr lang="en-GB" altLang="en-US" sz="1400" dirty="0" err="1"/>
              <a:t>new.QuantityAvailable</a:t>
            </a:r>
            <a:r>
              <a:rPr lang="en-GB" altLang="en-US" sz="1400" dirty="0"/>
              <a:t>, :</a:t>
            </a:r>
            <a:r>
              <a:rPr lang="en-GB" altLang="en-US" sz="1400" dirty="0" err="1"/>
              <a:t>new.ProjectNumber</a:t>
            </a:r>
            <a:r>
              <a:rPr lang="en-GB" altLang="en-US" sz="1400" dirty="0"/>
              <a:t>);</a:t>
            </a:r>
          </a:p>
          <a:p>
            <a:pPr>
              <a:lnSpc>
                <a:spcPct val="90000"/>
              </a:lnSpc>
              <a:buFont typeface="Wingdings" panose="05000000000000000000" pitchFamily="2" charset="2"/>
              <a:buNone/>
            </a:pPr>
            <a:r>
              <a:rPr lang="en-GB" altLang="en-US" sz="1400" dirty="0"/>
              <a:t>  ELSE  -- updating - Insert a before and after image of updates</a:t>
            </a:r>
          </a:p>
          <a:p>
            <a:pPr>
              <a:lnSpc>
                <a:spcPct val="90000"/>
              </a:lnSpc>
              <a:buFont typeface="Wingdings" panose="05000000000000000000" pitchFamily="2" charset="2"/>
              <a:buNone/>
            </a:pPr>
            <a:r>
              <a:rPr lang="en-GB" altLang="en-US" sz="1400" dirty="0"/>
              <a:t>     INSERT INTO </a:t>
            </a:r>
            <a:r>
              <a:rPr lang="en-GB" altLang="en-US" sz="1400" dirty="0" err="1"/>
              <a:t>equipment_audit</a:t>
            </a:r>
            <a:r>
              <a:rPr lang="en-GB" altLang="en-US" sz="1400" dirty="0"/>
              <a:t> VALUES ('UPDATE-OLD', SYSDATE,</a:t>
            </a:r>
          </a:p>
          <a:p>
            <a:pPr>
              <a:lnSpc>
                <a:spcPct val="90000"/>
              </a:lnSpc>
              <a:buFont typeface="Wingdings" panose="05000000000000000000" pitchFamily="2" charset="2"/>
              <a:buNone/>
            </a:pPr>
            <a:r>
              <a:rPr lang="en-GB" altLang="en-US" sz="1400" dirty="0"/>
              <a:t>         :</a:t>
            </a:r>
            <a:r>
              <a:rPr lang="en-GB" altLang="en-US" sz="1400" dirty="0" err="1"/>
              <a:t>old.EquipmentNumber</a:t>
            </a:r>
            <a:r>
              <a:rPr lang="en-GB" altLang="en-US" sz="1400" dirty="0"/>
              <a:t>, :</a:t>
            </a:r>
            <a:r>
              <a:rPr lang="en-GB" altLang="en-US" sz="1400" dirty="0" err="1"/>
              <a:t>old.Description</a:t>
            </a:r>
            <a:r>
              <a:rPr lang="en-GB" altLang="en-US" sz="1400" dirty="0"/>
              <a:t>, :</a:t>
            </a:r>
            <a:r>
              <a:rPr lang="en-GB" altLang="en-US" sz="1400" dirty="0" err="1"/>
              <a:t>old.OriginalCost</a:t>
            </a:r>
            <a:r>
              <a:rPr lang="en-GB" altLang="en-US" sz="1400" dirty="0"/>
              <a:t>, </a:t>
            </a:r>
          </a:p>
          <a:p>
            <a:pPr>
              <a:lnSpc>
                <a:spcPct val="90000"/>
              </a:lnSpc>
              <a:buFont typeface="Wingdings" panose="05000000000000000000" pitchFamily="2" charset="2"/>
              <a:buNone/>
            </a:pPr>
            <a:r>
              <a:rPr lang="en-GB" altLang="en-US" sz="1400" dirty="0"/>
              <a:t>         :</a:t>
            </a:r>
            <a:r>
              <a:rPr lang="en-GB" altLang="en-US" sz="1400" dirty="0" err="1"/>
              <a:t>old.QuantityAvailable</a:t>
            </a:r>
            <a:r>
              <a:rPr lang="en-GB" altLang="en-US" sz="1400" dirty="0"/>
              <a:t>, :</a:t>
            </a:r>
            <a:r>
              <a:rPr lang="en-GB" altLang="en-US" sz="1400" dirty="0" err="1"/>
              <a:t>old.ProjectNumber</a:t>
            </a:r>
            <a:r>
              <a:rPr lang="en-GB" altLang="en-US" sz="1400" dirty="0"/>
              <a:t>);</a:t>
            </a:r>
          </a:p>
          <a:p>
            <a:pPr>
              <a:lnSpc>
                <a:spcPct val="90000"/>
              </a:lnSpc>
              <a:buFont typeface="Wingdings" panose="05000000000000000000" pitchFamily="2" charset="2"/>
              <a:buNone/>
            </a:pPr>
            <a:r>
              <a:rPr lang="en-GB" altLang="en-US" sz="1400" dirty="0"/>
              <a:t>     INSERT INTO </a:t>
            </a:r>
            <a:r>
              <a:rPr lang="en-GB" altLang="en-US" sz="1400" dirty="0" err="1"/>
              <a:t>equipment_audit</a:t>
            </a:r>
            <a:r>
              <a:rPr lang="en-GB" altLang="en-US" sz="1400" dirty="0"/>
              <a:t> VALUES ('UPDATE-NEW', SYSDATE, </a:t>
            </a:r>
          </a:p>
          <a:p>
            <a:pPr>
              <a:lnSpc>
                <a:spcPct val="90000"/>
              </a:lnSpc>
              <a:buFont typeface="Wingdings" panose="05000000000000000000" pitchFamily="2" charset="2"/>
              <a:buNone/>
            </a:pPr>
            <a:r>
              <a:rPr lang="en-GB" altLang="en-US" sz="1400" dirty="0"/>
              <a:t>         :</a:t>
            </a:r>
            <a:r>
              <a:rPr lang="en-GB" altLang="en-US" sz="1400" dirty="0" err="1"/>
              <a:t>new.EquipmentNumber</a:t>
            </a:r>
            <a:r>
              <a:rPr lang="en-GB" altLang="en-US" sz="1400" dirty="0"/>
              <a:t>, :</a:t>
            </a:r>
            <a:r>
              <a:rPr lang="en-GB" altLang="en-US" sz="1400" dirty="0" err="1"/>
              <a:t>new.Description</a:t>
            </a:r>
            <a:r>
              <a:rPr lang="en-GB" altLang="en-US" sz="1400" dirty="0"/>
              <a:t>, :</a:t>
            </a:r>
            <a:r>
              <a:rPr lang="en-GB" altLang="en-US" sz="1400" dirty="0" err="1"/>
              <a:t>new.OriginalCost</a:t>
            </a:r>
            <a:r>
              <a:rPr lang="en-GB" altLang="en-US" sz="1400" dirty="0"/>
              <a:t>, </a:t>
            </a:r>
          </a:p>
          <a:p>
            <a:pPr>
              <a:lnSpc>
                <a:spcPct val="90000"/>
              </a:lnSpc>
              <a:buFont typeface="Wingdings" panose="05000000000000000000" pitchFamily="2" charset="2"/>
              <a:buNone/>
            </a:pPr>
            <a:r>
              <a:rPr lang="en-GB" altLang="en-US" sz="1400" dirty="0"/>
              <a:t>         :</a:t>
            </a:r>
            <a:r>
              <a:rPr lang="en-GB" altLang="en-US" sz="1400" dirty="0" err="1"/>
              <a:t>new.QuantityAvailable</a:t>
            </a:r>
            <a:r>
              <a:rPr lang="en-GB" altLang="en-US" sz="1400" dirty="0"/>
              <a:t>, :</a:t>
            </a:r>
            <a:r>
              <a:rPr lang="en-GB" altLang="en-US" sz="1400" dirty="0" err="1"/>
              <a:t>new.ProjectNumber</a:t>
            </a:r>
            <a:r>
              <a:rPr lang="en-GB" altLang="en-US" sz="1400" dirty="0"/>
              <a:t>);</a:t>
            </a:r>
          </a:p>
          <a:p>
            <a:pPr>
              <a:lnSpc>
                <a:spcPct val="90000"/>
              </a:lnSpc>
              <a:buFont typeface="Wingdings" panose="05000000000000000000" pitchFamily="2" charset="2"/>
              <a:buNone/>
            </a:pPr>
            <a:r>
              <a:rPr lang="en-GB" altLang="en-US" sz="1400" dirty="0"/>
              <a:t>  END IF;</a:t>
            </a:r>
          </a:p>
          <a:p>
            <a:pPr>
              <a:lnSpc>
                <a:spcPct val="90000"/>
              </a:lnSpc>
              <a:buFont typeface="Wingdings" panose="05000000000000000000" pitchFamily="2" charset="2"/>
              <a:buNone/>
            </a:pPr>
            <a:r>
              <a:rPr lang="en-GB" altLang="en-US" sz="1400" dirty="0"/>
              <a:t>END;</a:t>
            </a:r>
          </a:p>
          <a:p>
            <a:pPr>
              <a:lnSpc>
                <a:spcPct val="90000"/>
              </a:lnSpc>
              <a:buFont typeface="Wingdings" panose="05000000000000000000" pitchFamily="2" charset="2"/>
              <a:buNone/>
            </a:pPr>
            <a:endParaRPr lang="en-GB" altLang="en-US" dirty="0" smtClean="0"/>
          </a:p>
        </p:txBody>
      </p:sp>
      <p:sp>
        <p:nvSpPr>
          <p:cNvPr id="48131" name="Title 4"/>
          <p:cNvSpPr>
            <a:spLocks noGrp="1"/>
          </p:cNvSpPr>
          <p:nvPr>
            <p:ph type="title" idx="4294967295"/>
          </p:nvPr>
        </p:nvSpPr>
        <p:spPr>
          <a:xfrm>
            <a:off x="381000" y="139701"/>
            <a:ext cx="7564438" cy="669925"/>
          </a:xfrm>
        </p:spPr>
        <p:txBody>
          <a:bodyPr/>
          <a:lstStyle/>
          <a:p>
            <a:pPr eaLnBrk="1" hangingPunct="1"/>
            <a:r>
              <a:rPr altLang="en-US" dirty="0" smtClean="0">
                <a:solidFill>
                  <a:schemeClr val="tx1"/>
                </a:solidFill>
              </a:rPr>
              <a:t>Example</a:t>
            </a:r>
          </a:p>
        </p:txBody>
      </p:sp>
    </p:spTree>
    <p:extLst>
      <p:ext uri="{BB962C8B-B14F-4D97-AF65-F5344CB8AC3E}">
        <p14:creationId xmlns:p14="http://schemas.microsoft.com/office/powerpoint/2010/main" val="43636191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5"/>
          <p:cNvSpPr>
            <a:spLocks noGrp="1"/>
          </p:cNvSpPr>
          <p:nvPr>
            <p:ph idx="4294967295"/>
          </p:nvPr>
        </p:nvSpPr>
        <p:spPr>
          <a:xfrm>
            <a:off x="862014" y="1219201"/>
            <a:ext cx="8662987" cy="4956175"/>
          </a:xfrm>
        </p:spPr>
        <p:txBody>
          <a:bodyPr/>
          <a:lstStyle/>
          <a:p>
            <a:pPr marL="609600" indent="-609600">
              <a:defRPr/>
            </a:pPr>
            <a:endParaRPr lang="en-US" dirty="0" smtClean="0"/>
          </a:p>
          <a:p>
            <a:pPr marL="609600" indent="-609600">
              <a:defRPr/>
            </a:pPr>
            <a:r>
              <a:rPr lang="en-US" dirty="0" smtClean="0"/>
              <a:t>Used to capture error conditions and handle the processing to allow the application to continue</a:t>
            </a:r>
          </a:p>
          <a:p>
            <a:pPr marL="609600" indent="-609600">
              <a:buNone/>
              <a:defRPr/>
            </a:pPr>
            <a:endParaRPr lang="en-US" dirty="0" smtClean="0"/>
          </a:p>
          <a:p>
            <a:pPr marL="609600" indent="-609600">
              <a:defRPr/>
            </a:pPr>
            <a:r>
              <a:rPr lang="en-US" dirty="0" smtClean="0"/>
              <a:t>Placed in the EXCEPTION section of a PL/SQL block</a:t>
            </a:r>
          </a:p>
          <a:p>
            <a:pPr marL="609600" indent="-609600">
              <a:buNone/>
              <a:defRPr/>
            </a:pPr>
            <a:endParaRPr lang="en-US" dirty="0" smtClean="0"/>
          </a:p>
          <a:p>
            <a:pPr marL="609600" indent="-609600">
              <a:defRPr/>
            </a:pPr>
            <a:r>
              <a:rPr lang="en-US" dirty="0" smtClean="0"/>
              <a:t>Two types of errors</a:t>
            </a:r>
          </a:p>
          <a:p>
            <a:pPr marL="1371600" lvl="2" indent="-457200">
              <a:buFontTx/>
              <a:buAutoNum type="arabicPeriod"/>
              <a:defRPr/>
            </a:pPr>
            <a:r>
              <a:rPr lang="en-US" dirty="0" smtClean="0"/>
              <a:t>Oracle errors (Predefined and Non-Predefined)</a:t>
            </a:r>
          </a:p>
          <a:p>
            <a:pPr marL="1371600" lvl="2" indent="-457200">
              <a:buFontTx/>
              <a:buAutoNum type="arabicPeriod" startAt="2"/>
              <a:defRPr/>
            </a:pPr>
            <a:r>
              <a:rPr lang="en-US" dirty="0" smtClean="0"/>
              <a:t>User-defined errors</a:t>
            </a:r>
          </a:p>
          <a:p>
            <a:pPr marL="1371600" lvl="2" indent="-457200">
              <a:buNone/>
              <a:defRPr/>
            </a:pPr>
            <a:endParaRPr lang="en-US" dirty="0" smtClean="0"/>
          </a:p>
          <a:p>
            <a:pPr marL="609600" indent="-609600">
              <a:defRPr/>
            </a:pPr>
            <a:r>
              <a:rPr lang="en-US" dirty="0" smtClean="0"/>
              <a:t>RAISE_APPLICATION_ERROR</a:t>
            </a:r>
          </a:p>
          <a:p>
            <a:pPr>
              <a:lnSpc>
                <a:spcPct val="90000"/>
              </a:lnSpc>
              <a:buFont typeface="Wingdings" panose="05000000000000000000" pitchFamily="2" charset="2"/>
              <a:buNone/>
              <a:defRPr/>
            </a:pPr>
            <a:endParaRPr lang="en-GB" dirty="0" smtClean="0"/>
          </a:p>
        </p:txBody>
      </p:sp>
      <p:sp>
        <p:nvSpPr>
          <p:cNvPr id="49155" name="Title 4"/>
          <p:cNvSpPr>
            <a:spLocks noGrp="1"/>
          </p:cNvSpPr>
          <p:nvPr>
            <p:ph type="title" idx="4294967295"/>
          </p:nvPr>
        </p:nvSpPr>
        <p:spPr>
          <a:xfrm>
            <a:off x="381000" y="139701"/>
            <a:ext cx="7564438" cy="669925"/>
          </a:xfrm>
        </p:spPr>
        <p:txBody>
          <a:bodyPr/>
          <a:lstStyle/>
          <a:p>
            <a:pPr eaLnBrk="1" hangingPunct="1"/>
            <a:r>
              <a:rPr altLang="en-US" dirty="0" smtClean="0">
                <a:solidFill>
                  <a:schemeClr val="tx1"/>
                </a:solidFill>
              </a:rPr>
              <a:t>Exception Handling </a:t>
            </a:r>
          </a:p>
        </p:txBody>
      </p:sp>
    </p:spTree>
    <p:extLst>
      <p:ext uri="{BB962C8B-B14F-4D97-AF65-F5344CB8AC3E}">
        <p14:creationId xmlns:p14="http://schemas.microsoft.com/office/powerpoint/2010/main" val="51068749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pics</a:t>
            </a:r>
            <a:endParaRPr lang="en-US" dirty="0"/>
          </a:p>
        </p:txBody>
      </p:sp>
      <p:sp>
        <p:nvSpPr>
          <p:cNvPr id="19" name="AutoShape 8"/>
          <p:cNvSpPr>
            <a:spLocks noChangeArrowheads="1"/>
          </p:cNvSpPr>
          <p:nvPr>
            <p:custDataLst>
              <p:tags r:id="rId1"/>
            </p:custDataLst>
          </p:nvPr>
        </p:nvSpPr>
        <p:spPr bwMode="gray">
          <a:xfrm>
            <a:off x="1365160" y="1558527"/>
            <a:ext cx="2597240" cy="460156"/>
          </a:xfrm>
          <a:prstGeom prst="rect">
            <a:avLst/>
          </a:prstGeom>
          <a:solidFill>
            <a:srgbClr val="4F81BD"/>
          </a:solidFill>
          <a:ln w="9525" cap="flat" cmpd="sng" algn="ctr">
            <a:noFill/>
            <a:prstDash val="solid"/>
          </a:ln>
          <a:effectLst/>
        </p:spPr>
        <p:txBody>
          <a:bodyPr lIns="1188720" rtlCol="0" anchor="ctr" anchorCtr="0"/>
          <a:lstStyle/>
          <a:p>
            <a:pPr defTabSz="914400" fontAlgn="auto">
              <a:spcBef>
                <a:spcPts val="0"/>
              </a:spcBef>
              <a:spcAft>
                <a:spcPts val="0"/>
              </a:spcAft>
              <a:defRPr/>
            </a:pPr>
            <a:endParaRPr lang="de-DE" sz="1600" b="1" kern="0" baseline="30000" dirty="0">
              <a:solidFill>
                <a:sysClr val="windowText" lastClr="000000"/>
              </a:solidFill>
            </a:endParaRPr>
          </a:p>
        </p:txBody>
      </p:sp>
      <p:sp>
        <p:nvSpPr>
          <p:cNvPr id="21" name="AutoShape 8"/>
          <p:cNvSpPr>
            <a:spLocks noChangeArrowheads="1"/>
          </p:cNvSpPr>
          <p:nvPr>
            <p:custDataLst>
              <p:tags r:id="rId2"/>
            </p:custDataLst>
          </p:nvPr>
        </p:nvSpPr>
        <p:spPr bwMode="gray">
          <a:xfrm>
            <a:off x="1365157" y="2865707"/>
            <a:ext cx="2597239" cy="460156"/>
          </a:xfrm>
          <a:prstGeom prst="rect">
            <a:avLst/>
          </a:prstGeom>
          <a:solidFill>
            <a:srgbClr val="4F81BD"/>
          </a:solidFill>
          <a:ln w="9525" cap="flat" cmpd="sng" algn="ctr">
            <a:noFill/>
            <a:prstDash val="solid"/>
          </a:ln>
          <a:effectLst/>
        </p:spPr>
        <p:txBody>
          <a:bodyPr lIns="548640" rtlCol="0" anchor="ctr" anchorCtr="0"/>
          <a:lstStyle/>
          <a:p>
            <a:pPr defTabSz="914400" fontAlgn="auto">
              <a:spcBef>
                <a:spcPts val="0"/>
              </a:spcBef>
              <a:spcAft>
                <a:spcPts val="0"/>
              </a:spcAft>
              <a:defRPr/>
            </a:pPr>
            <a:endParaRPr lang="de-DE" sz="1600" b="1" kern="0" dirty="0">
              <a:solidFill>
                <a:sysClr val="windowText" lastClr="000000"/>
              </a:solidFill>
            </a:endParaRPr>
          </a:p>
        </p:txBody>
      </p:sp>
      <p:sp>
        <p:nvSpPr>
          <p:cNvPr id="22" name="AutoShape 8"/>
          <p:cNvSpPr>
            <a:spLocks noChangeArrowheads="1"/>
          </p:cNvSpPr>
          <p:nvPr>
            <p:custDataLst>
              <p:tags r:id="rId3"/>
            </p:custDataLst>
          </p:nvPr>
        </p:nvSpPr>
        <p:spPr bwMode="gray">
          <a:xfrm>
            <a:off x="1227137" y="4229206"/>
            <a:ext cx="2597239" cy="460156"/>
          </a:xfrm>
          <a:prstGeom prst="rect">
            <a:avLst/>
          </a:prstGeom>
          <a:solidFill>
            <a:srgbClr val="4F81BD"/>
          </a:solidFill>
          <a:ln w="9525" cap="flat" cmpd="sng" algn="ctr">
            <a:noFill/>
            <a:prstDash val="solid"/>
          </a:ln>
          <a:effectLst/>
        </p:spPr>
        <p:txBody>
          <a:bodyPr lIns="548640" rtlCol="0" anchor="ctr" anchorCtr="0"/>
          <a:lstStyle/>
          <a:p>
            <a:pPr marL="0" lvl="2" indent="3175" defTabSz="914400">
              <a:spcBef>
                <a:spcPct val="40000"/>
              </a:spcBef>
              <a:spcAft>
                <a:spcPts val="400"/>
              </a:spcAft>
              <a:buClr>
                <a:srgbClr val="1F497D"/>
              </a:buClr>
              <a:defRPr/>
            </a:pPr>
            <a:endParaRPr lang="de-DE" sz="1600" b="1" kern="0" dirty="0" smtClean="0">
              <a:solidFill>
                <a:sysClr val="windowText" lastClr="000000"/>
              </a:solidFill>
            </a:endParaRPr>
          </a:p>
        </p:txBody>
      </p:sp>
      <p:sp>
        <p:nvSpPr>
          <p:cNvPr id="23" name="AutoShape 8"/>
          <p:cNvSpPr>
            <a:spLocks noChangeArrowheads="1"/>
          </p:cNvSpPr>
          <p:nvPr>
            <p:custDataLst>
              <p:tags r:id="rId4"/>
            </p:custDataLst>
          </p:nvPr>
        </p:nvSpPr>
        <p:spPr bwMode="gray">
          <a:xfrm>
            <a:off x="1365157" y="2196557"/>
            <a:ext cx="2597239" cy="460156"/>
          </a:xfrm>
          <a:prstGeom prst="rect">
            <a:avLst/>
          </a:prstGeom>
          <a:solidFill>
            <a:srgbClr val="4F81BD"/>
          </a:solidFill>
          <a:ln w="9525" cap="flat" cmpd="sng" algn="ctr">
            <a:noFill/>
            <a:prstDash val="solid"/>
          </a:ln>
          <a:effectLst/>
        </p:spPr>
        <p:txBody>
          <a:bodyPr lIns="548640" rtlCol="0" anchor="ctr" anchorCtr="0"/>
          <a:lstStyle/>
          <a:p>
            <a:pPr defTabSz="914400" fontAlgn="auto">
              <a:spcBef>
                <a:spcPts val="0"/>
              </a:spcBef>
              <a:spcAft>
                <a:spcPts val="0"/>
              </a:spcAft>
              <a:defRPr/>
            </a:pPr>
            <a:endParaRPr lang="de-DE" sz="1600" b="1" i="1" kern="0" baseline="30000" dirty="0">
              <a:solidFill>
                <a:sysClr val="windowText" lastClr="000000"/>
              </a:solidFill>
            </a:endParaRPr>
          </a:p>
        </p:txBody>
      </p:sp>
      <p:sp>
        <p:nvSpPr>
          <p:cNvPr id="24" name="AutoShape 8"/>
          <p:cNvSpPr>
            <a:spLocks noChangeArrowheads="1"/>
          </p:cNvSpPr>
          <p:nvPr>
            <p:custDataLst>
              <p:tags r:id="rId5"/>
            </p:custDataLst>
          </p:nvPr>
        </p:nvSpPr>
        <p:spPr bwMode="gray">
          <a:xfrm>
            <a:off x="1365156" y="3560056"/>
            <a:ext cx="2597239" cy="460156"/>
          </a:xfrm>
          <a:prstGeom prst="rect">
            <a:avLst/>
          </a:prstGeom>
          <a:solidFill>
            <a:srgbClr val="4F81BD"/>
          </a:solidFill>
          <a:ln w="9525" cap="flat" cmpd="sng" algn="ctr">
            <a:noFill/>
            <a:prstDash val="solid"/>
          </a:ln>
          <a:effectLst/>
        </p:spPr>
        <p:txBody>
          <a:bodyPr lIns="548640" rtlCol="0" anchor="ctr" anchorCtr="0"/>
          <a:lstStyle/>
          <a:p>
            <a:pPr defTabSz="914400" fontAlgn="auto">
              <a:spcBef>
                <a:spcPts val="0"/>
              </a:spcBef>
              <a:spcAft>
                <a:spcPts val="0"/>
              </a:spcAft>
              <a:defRPr/>
            </a:pPr>
            <a:endParaRPr lang="de-DE" sz="1600" b="1" kern="0" dirty="0">
              <a:solidFill>
                <a:sysClr val="windowText" lastClr="000000"/>
              </a:solidFill>
            </a:endParaRPr>
          </a:p>
        </p:txBody>
      </p:sp>
      <p:sp>
        <p:nvSpPr>
          <p:cNvPr id="25" name="Rectangle 24"/>
          <p:cNvSpPr>
            <a:spLocks/>
          </p:cNvSpPr>
          <p:nvPr/>
        </p:nvSpPr>
        <p:spPr bwMode="gray">
          <a:xfrm>
            <a:off x="3374571" y="1558527"/>
            <a:ext cx="5310643" cy="460155"/>
          </a:xfrm>
          <a:prstGeom prst="rect">
            <a:avLst/>
          </a:prstGeom>
          <a:solidFill>
            <a:sysClr val="window" lastClr="FFFFFF">
              <a:lumMod val="85000"/>
            </a:sysClr>
          </a:solidFill>
          <a:effectLst/>
        </p:spPr>
        <p:txBody>
          <a:bodyPr wrap="square" lIns="274320" anchor="ctr">
            <a:noAutofit/>
          </a:bodyPr>
          <a:lstStyle/>
          <a:p>
            <a:pPr marL="285750" indent="-285750" defTabSz="914400" eaLnBrk="0" hangingPunct="0">
              <a:spcBef>
                <a:spcPts val="200"/>
              </a:spcBef>
              <a:spcAft>
                <a:spcPts val="200"/>
              </a:spcAft>
              <a:buClr>
                <a:srgbClr val="0078A9"/>
              </a:buClr>
              <a:buFont typeface="Arial" pitchFamily="34" charset="0"/>
              <a:buChar char="•"/>
              <a:defRPr/>
            </a:pPr>
            <a:r>
              <a:rPr lang="en-US" sz="1600" dirty="0">
                <a:solidFill>
                  <a:srgbClr val="263147"/>
                </a:solidFill>
              </a:rPr>
              <a:t>Procedures</a:t>
            </a:r>
            <a:endParaRPr lang="de-DE" sz="1600" b="1" kern="0" dirty="0">
              <a:solidFill>
                <a:sysClr val="windowText" lastClr="000000"/>
              </a:solidFill>
              <a:ea typeface="Calibri" pitchFamily="34" charset="0"/>
            </a:endParaRPr>
          </a:p>
        </p:txBody>
      </p:sp>
      <p:sp>
        <p:nvSpPr>
          <p:cNvPr id="26" name="Rectangle 25"/>
          <p:cNvSpPr>
            <a:spLocks/>
          </p:cNvSpPr>
          <p:nvPr/>
        </p:nvSpPr>
        <p:spPr bwMode="gray">
          <a:xfrm>
            <a:off x="3374570" y="2866132"/>
            <a:ext cx="5310643" cy="467017"/>
          </a:xfrm>
          <a:prstGeom prst="rect">
            <a:avLst/>
          </a:prstGeom>
          <a:solidFill>
            <a:sysClr val="window" lastClr="FFFFFF">
              <a:lumMod val="85000"/>
            </a:sysClr>
          </a:solidFill>
          <a:effectLst/>
        </p:spPr>
        <p:txBody>
          <a:bodyPr wrap="square" lIns="274320" anchor="ctr">
            <a:noAutofit/>
          </a:bodyPr>
          <a:lstStyle/>
          <a:p>
            <a:pPr marL="285750" indent="-285750" defTabSz="914400" eaLnBrk="0" hangingPunct="0">
              <a:spcBef>
                <a:spcPts val="200"/>
              </a:spcBef>
              <a:spcAft>
                <a:spcPts val="200"/>
              </a:spcAft>
              <a:buClr>
                <a:srgbClr val="0078A9"/>
              </a:buClr>
              <a:buFont typeface="Arial" pitchFamily="34" charset="0"/>
              <a:buChar char="•"/>
              <a:defRPr/>
            </a:pPr>
            <a:r>
              <a:rPr lang="en-US" sz="1600" dirty="0" smtClean="0">
                <a:solidFill>
                  <a:srgbClr val="263147"/>
                </a:solidFill>
              </a:rPr>
              <a:t>Functions</a:t>
            </a:r>
            <a:endParaRPr lang="de-DE" sz="1600" b="1" kern="0" dirty="0">
              <a:solidFill>
                <a:sysClr val="windowText" lastClr="000000"/>
              </a:solidFill>
              <a:ea typeface="Calibri" pitchFamily="34" charset="0"/>
            </a:endParaRPr>
          </a:p>
        </p:txBody>
      </p:sp>
      <p:sp>
        <p:nvSpPr>
          <p:cNvPr id="28" name="Rectangle 27"/>
          <p:cNvSpPr>
            <a:spLocks/>
          </p:cNvSpPr>
          <p:nvPr/>
        </p:nvSpPr>
        <p:spPr bwMode="gray">
          <a:xfrm>
            <a:off x="3268203" y="4227470"/>
            <a:ext cx="5310643" cy="461892"/>
          </a:xfrm>
          <a:prstGeom prst="rect">
            <a:avLst/>
          </a:prstGeom>
          <a:solidFill>
            <a:sysClr val="window" lastClr="FFFFFF">
              <a:lumMod val="85000"/>
            </a:sysClr>
          </a:solidFill>
          <a:effectLst/>
        </p:spPr>
        <p:txBody>
          <a:bodyPr wrap="square" lIns="274320" anchor="ctr">
            <a:noAutofit/>
          </a:bodyPr>
          <a:lstStyle/>
          <a:p>
            <a:pPr marL="285750" indent="-285750" defTabSz="914400" eaLnBrk="0" hangingPunct="0">
              <a:spcBef>
                <a:spcPts val="200"/>
              </a:spcBef>
              <a:spcAft>
                <a:spcPts val="200"/>
              </a:spcAft>
              <a:buClr>
                <a:srgbClr val="0078A9"/>
              </a:buClr>
              <a:buFont typeface="Arial" pitchFamily="34" charset="0"/>
              <a:buChar char="•"/>
              <a:defRPr/>
            </a:pPr>
            <a:r>
              <a:rPr lang="en-US" sz="1600" dirty="0"/>
              <a:t>Exception Handling</a:t>
            </a:r>
            <a:endParaRPr lang="de-DE" sz="1600" b="1" kern="0" dirty="0">
              <a:solidFill>
                <a:sysClr val="windowText" lastClr="000000"/>
              </a:solidFill>
              <a:ea typeface="Calibri" pitchFamily="34" charset="0"/>
            </a:endParaRPr>
          </a:p>
        </p:txBody>
      </p:sp>
      <p:sp>
        <p:nvSpPr>
          <p:cNvPr id="29" name="Rectangle 28"/>
          <p:cNvSpPr>
            <a:spLocks/>
          </p:cNvSpPr>
          <p:nvPr/>
        </p:nvSpPr>
        <p:spPr bwMode="gray">
          <a:xfrm>
            <a:off x="3374570" y="2194821"/>
            <a:ext cx="5310643" cy="468753"/>
          </a:xfrm>
          <a:prstGeom prst="rect">
            <a:avLst/>
          </a:prstGeom>
          <a:solidFill>
            <a:sysClr val="window" lastClr="FFFFFF">
              <a:lumMod val="85000"/>
            </a:sysClr>
          </a:solidFill>
          <a:effectLst/>
        </p:spPr>
        <p:txBody>
          <a:bodyPr wrap="square" lIns="274320" anchor="ctr">
            <a:noAutofit/>
          </a:bodyPr>
          <a:lstStyle/>
          <a:p>
            <a:pPr marL="285750" indent="-285750" defTabSz="914400" eaLnBrk="0" hangingPunct="0">
              <a:spcBef>
                <a:spcPts val="200"/>
              </a:spcBef>
              <a:spcAft>
                <a:spcPts val="200"/>
              </a:spcAft>
              <a:buClr>
                <a:srgbClr val="0078A9"/>
              </a:buClr>
              <a:buFont typeface="Arial" pitchFamily="34" charset="0"/>
              <a:buChar char="•"/>
              <a:defRPr/>
            </a:pPr>
            <a:r>
              <a:rPr lang="en-US" sz="1600" dirty="0" smtClean="0">
                <a:solidFill>
                  <a:srgbClr val="263147"/>
                </a:solidFill>
              </a:rPr>
              <a:t>Parameter Modes</a:t>
            </a:r>
            <a:endParaRPr lang="de-DE" sz="1600" b="1" kern="0" dirty="0">
              <a:solidFill>
                <a:sysClr val="windowText" lastClr="000000"/>
              </a:solidFill>
              <a:ea typeface="Calibri" pitchFamily="34" charset="0"/>
            </a:endParaRPr>
          </a:p>
        </p:txBody>
      </p:sp>
      <p:sp>
        <p:nvSpPr>
          <p:cNvPr id="30" name="Rectangle 29"/>
          <p:cNvSpPr>
            <a:spLocks/>
          </p:cNvSpPr>
          <p:nvPr/>
        </p:nvSpPr>
        <p:spPr bwMode="gray">
          <a:xfrm>
            <a:off x="3374570" y="3565829"/>
            <a:ext cx="5310643" cy="460155"/>
          </a:xfrm>
          <a:prstGeom prst="rect">
            <a:avLst/>
          </a:prstGeom>
          <a:solidFill>
            <a:sysClr val="window" lastClr="FFFFFF">
              <a:lumMod val="85000"/>
            </a:sysClr>
          </a:solidFill>
          <a:effectLst/>
        </p:spPr>
        <p:txBody>
          <a:bodyPr wrap="square" lIns="274320" anchor="ctr">
            <a:noAutofit/>
          </a:bodyPr>
          <a:lstStyle/>
          <a:p>
            <a:pPr marL="285750" indent="-285750" defTabSz="914400" eaLnBrk="0" hangingPunct="0">
              <a:spcBef>
                <a:spcPts val="200"/>
              </a:spcBef>
              <a:spcAft>
                <a:spcPts val="200"/>
              </a:spcAft>
              <a:buClr>
                <a:srgbClr val="0078A9"/>
              </a:buClr>
              <a:buFont typeface="Arial" pitchFamily="34" charset="0"/>
              <a:buChar char="•"/>
              <a:defRPr/>
            </a:pPr>
            <a:r>
              <a:rPr lang="en-US" sz="1600" dirty="0" smtClean="0">
                <a:solidFill>
                  <a:srgbClr val="263147"/>
                </a:solidFill>
              </a:rPr>
              <a:t>Packages</a:t>
            </a:r>
            <a:endParaRPr lang="de-DE" sz="1600" b="1" kern="0" dirty="0">
              <a:solidFill>
                <a:sysClr val="windowText" lastClr="000000"/>
              </a:solidFill>
              <a:ea typeface="Calibri" pitchFamily="34" charset="0"/>
            </a:endParaRPr>
          </a:p>
        </p:txBody>
      </p:sp>
      <p:sp>
        <p:nvSpPr>
          <p:cNvPr id="15" name="AutoShape 8"/>
          <p:cNvSpPr>
            <a:spLocks noChangeArrowheads="1"/>
          </p:cNvSpPr>
          <p:nvPr>
            <p:custDataLst>
              <p:tags r:id="rId6"/>
            </p:custDataLst>
          </p:nvPr>
        </p:nvSpPr>
        <p:spPr bwMode="gray">
          <a:xfrm>
            <a:off x="670964" y="5493235"/>
            <a:ext cx="2597239" cy="460156"/>
          </a:xfrm>
          <a:prstGeom prst="rect">
            <a:avLst/>
          </a:prstGeom>
          <a:solidFill>
            <a:srgbClr val="4F81BD"/>
          </a:solidFill>
          <a:ln w="9525" cap="flat" cmpd="sng" algn="ctr">
            <a:noFill/>
            <a:prstDash val="solid"/>
          </a:ln>
          <a:effectLst/>
        </p:spPr>
        <p:txBody>
          <a:bodyPr lIns="548640" rtlCol="0" anchor="ctr" anchorCtr="0"/>
          <a:lstStyle/>
          <a:p>
            <a:pPr marL="0" lvl="2" indent="3175" defTabSz="914400">
              <a:spcBef>
                <a:spcPct val="40000"/>
              </a:spcBef>
              <a:spcAft>
                <a:spcPts val="400"/>
              </a:spcAft>
              <a:buClr>
                <a:srgbClr val="1F497D"/>
              </a:buClr>
              <a:defRPr/>
            </a:pPr>
            <a:endParaRPr lang="de-DE" sz="1600" b="1" kern="0" dirty="0" smtClean="0">
              <a:solidFill>
                <a:sysClr val="windowText" lastClr="000000"/>
              </a:solidFill>
            </a:endParaRPr>
          </a:p>
        </p:txBody>
      </p:sp>
      <p:sp>
        <p:nvSpPr>
          <p:cNvPr id="16" name="Rectangle 15"/>
          <p:cNvSpPr>
            <a:spLocks/>
          </p:cNvSpPr>
          <p:nvPr/>
        </p:nvSpPr>
        <p:spPr bwMode="gray">
          <a:xfrm>
            <a:off x="3268203" y="5482875"/>
            <a:ext cx="5310643" cy="460155"/>
          </a:xfrm>
          <a:prstGeom prst="rect">
            <a:avLst/>
          </a:prstGeom>
          <a:solidFill>
            <a:sysClr val="window" lastClr="FFFFFF">
              <a:lumMod val="85000"/>
            </a:sysClr>
          </a:solidFill>
          <a:effectLst/>
        </p:spPr>
        <p:txBody>
          <a:bodyPr wrap="square" lIns="274320" anchor="ctr">
            <a:noAutofit/>
          </a:bodyPr>
          <a:lstStyle/>
          <a:p>
            <a:pPr marL="285750" indent="-285750" defTabSz="914400" eaLnBrk="0" hangingPunct="0">
              <a:spcBef>
                <a:spcPts val="200"/>
              </a:spcBef>
              <a:spcAft>
                <a:spcPts val="200"/>
              </a:spcAft>
              <a:buClr>
                <a:srgbClr val="0078A9"/>
              </a:buClr>
              <a:buFont typeface="Arial" pitchFamily="34" charset="0"/>
              <a:buChar char="•"/>
              <a:defRPr/>
            </a:pPr>
            <a:r>
              <a:rPr lang="en-US" sz="1600" dirty="0" smtClean="0">
                <a:solidFill>
                  <a:srgbClr val="263147"/>
                </a:solidFill>
              </a:rPr>
              <a:t>Collection and Pragma Autonomous transaction</a:t>
            </a:r>
            <a:endParaRPr lang="de-DE" sz="1600" b="1" kern="0" dirty="0">
              <a:solidFill>
                <a:sysClr val="windowText" lastClr="000000"/>
              </a:solidFill>
              <a:ea typeface="Calibri" pitchFamily="34" charset="0"/>
            </a:endParaRPr>
          </a:p>
        </p:txBody>
      </p:sp>
      <p:sp>
        <p:nvSpPr>
          <p:cNvPr id="20" name="AutoShape 8"/>
          <p:cNvSpPr>
            <a:spLocks noChangeArrowheads="1"/>
          </p:cNvSpPr>
          <p:nvPr>
            <p:custDataLst>
              <p:tags r:id="rId7"/>
            </p:custDataLst>
          </p:nvPr>
        </p:nvSpPr>
        <p:spPr bwMode="gray">
          <a:xfrm>
            <a:off x="1227137" y="4874799"/>
            <a:ext cx="2597239" cy="460156"/>
          </a:xfrm>
          <a:prstGeom prst="rect">
            <a:avLst/>
          </a:prstGeom>
          <a:solidFill>
            <a:srgbClr val="4F81BD"/>
          </a:solidFill>
          <a:ln w="9525" cap="flat" cmpd="sng" algn="ctr">
            <a:noFill/>
            <a:prstDash val="solid"/>
          </a:ln>
          <a:effectLst/>
        </p:spPr>
        <p:txBody>
          <a:bodyPr lIns="548640" rtlCol="0" anchor="ctr" anchorCtr="0"/>
          <a:lstStyle/>
          <a:p>
            <a:pPr marL="0" lvl="2" indent="3175" defTabSz="914400">
              <a:spcBef>
                <a:spcPct val="40000"/>
              </a:spcBef>
              <a:spcAft>
                <a:spcPts val="400"/>
              </a:spcAft>
              <a:buClr>
                <a:srgbClr val="1F497D"/>
              </a:buClr>
              <a:defRPr/>
            </a:pPr>
            <a:endParaRPr lang="de-DE" sz="1600" b="1" kern="0" dirty="0" smtClean="0">
              <a:solidFill>
                <a:sysClr val="windowText" lastClr="000000"/>
              </a:solidFill>
            </a:endParaRPr>
          </a:p>
        </p:txBody>
      </p:sp>
      <p:sp>
        <p:nvSpPr>
          <p:cNvPr id="27" name="Rectangle 26"/>
          <p:cNvSpPr>
            <a:spLocks/>
          </p:cNvSpPr>
          <p:nvPr/>
        </p:nvSpPr>
        <p:spPr bwMode="gray">
          <a:xfrm>
            <a:off x="3268203" y="4873064"/>
            <a:ext cx="5310643" cy="460155"/>
          </a:xfrm>
          <a:prstGeom prst="rect">
            <a:avLst/>
          </a:prstGeom>
          <a:solidFill>
            <a:sysClr val="window" lastClr="FFFFFF">
              <a:lumMod val="85000"/>
            </a:sysClr>
          </a:solidFill>
          <a:effectLst/>
        </p:spPr>
        <p:txBody>
          <a:bodyPr wrap="square" lIns="274320" anchor="ctr">
            <a:noAutofit/>
          </a:bodyPr>
          <a:lstStyle/>
          <a:p>
            <a:pPr marL="285750" indent="-285750" defTabSz="914400" eaLnBrk="0" hangingPunct="0">
              <a:spcBef>
                <a:spcPts val="200"/>
              </a:spcBef>
              <a:spcAft>
                <a:spcPts val="200"/>
              </a:spcAft>
              <a:buClr>
                <a:srgbClr val="0078A9"/>
              </a:buClr>
              <a:buFont typeface="Arial" pitchFamily="34" charset="0"/>
              <a:buChar char="•"/>
              <a:defRPr/>
            </a:pPr>
            <a:r>
              <a:rPr lang="en-US" sz="1600" dirty="0" smtClean="0">
                <a:solidFill>
                  <a:srgbClr val="263147"/>
                </a:solidFill>
              </a:rPr>
              <a:t>Cursors</a:t>
            </a:r>
            <a:endParaRPr lang="de-DE" sz="1600" b="1" kern="0" dirty="0">
              <a:solidFill>
                <a:sysClr val="windowText" lastClr="000000"/>
              </a:solidFill>
              <a:ea typeface="Calibri" pitchFamily="34" charset="0"/>
            </a:endParaRPr>
          </a:p>
        </p:txBody>
      </p:sp>
      <p:pic>
        <p:nvPicPr>
          <p:cNvPr id="31" name="Picture 7"/>
          <p:cNvPicPr>
            <a:picLocks noChangeAspect="1" noChangeArrowheads="1"/>
          </p:cNvPicPr>
          <p:nvPr/>
        </p:nvPicPr>
        <p:blipFill>
          <a:blip r:embed="rId9" cstate="print"/>
          <a:srcRect l="37358" t="10678" b="10386"/>
          <a:stretch>
            <a:fillRect/>
          </a:stretch>
        </p:blipFill>
        <p:spPr bwMode="gray">
          <a:xfrm>
            <a:off x="2" y="1541728"/>
            <a:ext cx="2943393" cy="4411663"/>
          </a:xfrm>
          <a:prstGeom prst="rect">
            <a:avLst/>
          </a:prstGeom>
          <a:noFill/>
          <a:ln w="9525">
            <a:noFill/>
            <a:miter lim="800000"/>
            <a:headEnd/>
            <a:tailEnd/>
          </a:ln>
          <a:effectLst/>
        </p:spPr>
      </p:pic>
    </p:spTree>
    <p:extLst>
      <p:ext uri="{BB962C8B-B14F-4D97-AF65-F5344CB8AC3E}">
        <p14:creationId xmlns:p14="http://schemas.microsoft.com/office/powerpoint/2010/main" val="225664061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le 4"/>
          <p:cNvSpPr>
            <a:spLocks noGrp="1"/>
          </p:cNvSpPr>
          <p:nvPr>
            <p:ph type="title" idx="4294967295"/>
          </p:nvPr>
        </p:nvSpPr>
        <p:spPr>
          <a:xfrm>
            <a:off x="381000" y="139701"/>
            <a:ext cx="7564438" cy="669925"/>
          </a:xfrm>
        </p:spPr>
        <p:txBody>
          <a:bodyPr/>
          <a:lstStyle/>
          <a:p>
            <a:pPr eaLnBrk="1" hangingPunct="1"/>
            <a:r>
              <a:rPr altLang="en-US" dirty="0" smtClean="0">
                <a:solidFill>
                  <a:schemeClr val="tx1"/>
                </a:solidFill>
              </a:rPr>
              <a:t>Predefined Oracle Errors</a:t>
            </a:r>
          </a:p>
        </p:txBody>
      </p:sp>
      <p:grpSp>
        <p:nvGrpSpPr>
          <p:cNvPr id="50179" name="Group 3"/>
          <p:cNvGrpSpPr>
            <a:grpSpLocks/>
          </p:cNvGrpSpPr>
          <p:nvPr/>
        </p:nvGrpSpPr>
        <p:grpSpPr bwMode="auto">
          <a:xfrm>
            <a:off x="1371600" y="1447800"/>
            <a:ext cx="7086600" cy="3786188"/>
            <a:chOff x="-3" y="-3"/>
            <a:chExt cx="3274" cy="2657"/>
          </a:xfrm>
        </p:grpSpPr>
        <p:grpSp>
          <p:nvGrpSpPr>
            <p:cNvPr id="50180" name="Group 4"/>
            <p:cNvGrpSpPr>
              <a:grpSpLocks/>
            </p:cNvGrpSpPr>
            <p:nvPr/>
          </p:nvGrpSpPr>
          <p:grpSpPr bwMode="auto">
            <a:xfrm>
              <a:off x="0" y="0"/>
              <a:ext cx="3268" cy="2651"/>
              <a:chOff x="0" y="0"/>
              <a:chExt cx="3268" cy="2651"/>
            </a:xfrm>
          </p:grpSpPr>
          <p:grpSp>
            <p:nvGrpSpPr>
              <p:cNvPr id="50182" name="Group 5"/>
              <p:cNvGrpSpPr>
                <a:grpSpLocks/>
              </p:cNvGrpSpPr>
              <p:nvPr/>
            </p:nvGrpSpPr>
            <p:grpSpPr bwMode="auto">
              <a:xfrm>
                <a:off x="0" y="0"/>
                <a:ext cx="1022" cy="346"/>
                <a:chOff x="0" y="0"/>
                <a:chExt cx="1022" cy="346"/>
              </a:xfrm>
            </p:grpSpPr>
            <p:sp>
              <p:nvSpPr>
                <p:cNvPr id="50218" name="Rectangle 6"/>
                <p:cNvSpPr>
                  <a:spLocks noChangeArrowheads="1"/>
                </p:cNvSpPr>
                <p:nvPr/>
              </p:nvSpPr>
              <p:spPr bwMode="auto">
                <a:xfrm>
                  <a:off x="0" y="0"/>
                  <a:ext cx="1022" cy="346"/>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nvGrpSpPr>
                <p:cNvPr id="50219" name="Group 7"/>
                <p:cNvGrpSpPr>
                  <a:grpSpLocks/>
                </p:cNvGrpSpPr>
                <p:nvPr/>
              </p:nvGrpSpPr>
              <p:grpSpPr bwMode="auto">
                <a:xfrm>
                  <a:off x="0" y="0"/>
                  <a:ext cx="1022" cy="346"/>
                  <a:chOff x="0" y="0"/>
                  <a:chExt cx="1022" cy="346"/>
                </a:xfrm>
              </p:grpSpPr>
              <p:sp>
                <p:nvSpPr>
                  <p:cNvPr id="50220" name="Rectangle 8"/>
                  <p:cNvSpPr>
                    <a:spLocks noChangeArrowheads="1"/>
                  </p:cNvSpPr>
                  <p:nvPr/>
                </p:nvSpPr>
                <p:spPr bwMode="auto">
                  <a:xfrm>
                    <a:off x="43" y="0"/>
                    <a:ext cx="936" cy="346"/>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1400" b="1">
                        <a:cs typeface="Times New Roman" panose="02020603050405020304" pitchFamily="18" charset="0"/>
                      </a:rPr>
                      <a:t>Exception Name</a:t>
                    </a:r>
                  </a:p>
                  <a:p>
                    <a:pPr eaLnBrk="1" hangingPunct="1">
                      <a:spcBef>
                        <a:spcPct val="0"/>
                      </a:spcBef>
                      <a:buClrTx/>
                      <a:buFontTx/>
                      <a:buNone/>
                    </a:pPr>
                    <a:endParaRPr lang="en-US" altLang="en-US" sz="1400" b="1"/>
                  </a:p>
                </p:txBody>
              </p:sp>
              <p:sp>
                <p:nvSpPr>
                  <p:cNvPr id="50221" name="Rectangle 9"/>
                  <p:cNvSpPr>
                    <a:spLocks noChangeArrowheads="1"/>
                  </p:cNvSpPr>
                  <p:nvPr/>
                </p:nvSpPr>
                <p:spPr bwMode="auto">
                  <a:xfrm>
                    <a:off x="0" y="0"/>
                    <a:ext cx="1022" cy="34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grpSp>
            <p:nvGrpSpPr>
              <p:cNvPr id="50183" name="Group 10"/>
              <p:cNvGrpSpPr>
                <a:grpSpLocks/>
              </p:cNvGrpSpPr>
              <p:nvPr/>
            </p:nvGrpSpPr>
            <p:grpSpPr bwMode="auto">
              <a:xfrm>
                <a:off x="1022" y="0"/>
                <a:ext cx="2246" cy="346"/>
                <a:chOff x="1022" y="0"/>
                <a:chExt cx="2246" cy="346"/>
              </a:xfrm>
            </p:grpSpPr>
            <p:sp>
              <p:nvSpPr>
                <p:cNvPr id="50214" name="Rectangle 11"/>
                <p:cNvSpPr>
                  <a:spLocks noChangeArrowheads="1"/>
                </p:cNvSpPr>
                <p:nvPr/>
              </p:nvSpPr>
              <p:spPr bwMode="auto">
                <a:xfrm>
                  <a:off x="1022" y="0"/>
                  <a:ext cx="2246" cy="346"/>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nvGrpSpPr>
                <p:cNvPr id="50215" name="Group 12"/>
                <p:cNvGrpSpPr>
                  <a:grpSpLocks/>
                </p:cNvGrpSpPr>
                <p:nvPr/>
              </p:nvGrpSpPr>
              <p:grpSpPr bwMode="auto">
                <a:xfrm>
                  <a:off x="1022" y="0"/>
                  <a:ext cx="2246" cy="346"/>
                  <a:chOff x="1022" y="0"/>
                  <a:chExt cx="2246" cy="346"/>
                </a:xfrm>
              </p:grpSpPr>
              <p:sp>
                <p:nvSpPr>
                  <p:cNvPr id="50216" name="Rectangle 13"/>
                  <p:cNvSpPr>
                    <a:spLocks noChangeArrowheads="1"/>
                  </p:cNvSpPr>
                  <p:nvPr/>
                </p:nvSpPr>
                <p:spPr bwMode="auto">
                  <a:xfrm>
                    <a:off x="1065" y="0"/>
                    <a:ext cx="2160" cy="346"/>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1400" b="1">
                        <a:cs typeface="Times New Roman" panose="02020603050405020304" pitchFamily="18" charset="0"/>
                      </a:rPr>
                      <a:t>Description</a:t>
                    </a:r>
                  </a:p>
                  <a:p>
                    <a:pPr eaLnBrk="1" hangingPunct="1">
                      <a:spcBef>
                        <a:spcPct val="0"/>
                      </a:spcBef>
                      <a:buClrTx/>
                      <a:buFontTx/>
                      <a:buNone/>
                    </a:pPr>
                    <a:endParaRPr lang="en-US" altLang="en-US" sz="1400" b="1"/>
                  </a:p>
                </p:txBody>
              </p:sp>
              <p:sp>
                <p:nvSpPr>
                  <p:cNvPr id="50217" name="Rectangle 14"/>
                  <p:cNvSpPr>
                    <a:spLocks noChangeArrowheads="1"/>
                  </p:cNvSpPr>
                  <p:nvPr/>
                </p:nvSpPr>
                <p:spPr bwMode="auto">
                  <a:xfrm>
                    <a:off x="1022" y="0"/>
                    <a:ext cx="2246" cy="34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grpSp>
            <p:nvGrpSpPr>
              <p:cNvPr id="50184" name="Group 15"/>
              <p:cNvGrpSpPr>
                <a:grpSpLocks/>
              </p:cNvGrpSpPr>
              <p:nvPr/>
            </p:nvGrpSpPr>
            <p:grpSpPr bwMode="auto">
              <a:xfrm>
                <a:off x="0" y="346"/>
                <a:ext cx="1022" cy="576"/>
                <a:chOff x="0" y="346"/>
                <a:chExt cx="1022" cy="576"/>
              </a:xfrm>
            </p:grpSpPr>
            <p:sp>
              <p:nvSpPr>
                <p:cNvPr id="50212" name="Rectangle 16"/>
                <p:cNvSpPr>
                  <a:spLocks noChangeArrowheads="1"/>
                </p:cNvSpPr>
                <p:nvPr/>
              </p:nvSpPr>
              <p:spPr bwMode="auto">
                <a:xfrm>
                  <a:off x="43" y="346"/>
                  <a:ext cx="936"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1400" b="1">
                      <a:cs typeface="Times New Roman" panose="02020603050405020304" pitchFamily="18" charset="0"/>
                    </a:rPr>
                    <a:t>NO_DATA_FOUND</a:t>
                  </a:r>
                </a:p>
                <a:p>
                  <a:pPr eaLnBrk="1" hangingPunct="1">
                    <a:spcBef>
                      <a:spcPct val="0"/>
                    </a:spcBef>
                    <a:buClrTx/>
                    <a:buFontTx/>
                    <a:buNone/>
                  </a:pPr>
                  <a:endParaRPr lang="en-US" altLang="en-US" sz="1400" b="1"/>
                </a:p>
              </p:txBody>
            </p:sp>
            <p:sp>
              <p:nvSpPr>
                <p:cNvPr id="50213" name="Rectangle 17"/>
                <p:cNvSpPr>
                  <a:spLocks noChangeArrowheads="1"/>
                </p:cNvSpPr>
                <p:nvPr/>
              </p:nvSpPr>
              <p:spPr bwMode="auto">
                <a:xfrm>
                  <a:off x="0" y="346"/>
                  <a:ext cx="1022" cy="57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50185" name="Group 18"/>
              <p:cNvGrpSpPr>
                <a:grpSpLocks/>
              </p:cNvGrpSpPr>
              <p:nvPr/>
            </p:nvGrpSpPr>
            <p:grpSpPr bwMode="auto">
              <a:xfrm>
                <a:off x="1022" y="346"/>
                <a:ext cx="2246" cy="576"/>
                <a:chOff x="1022" y="346"/>
                <a:chExt cx="2246" cy="576"/>
              </a:xfrm>
            </p:grpSpPr>
            <p:sp>
              <p:nvSpPr>
                <p:cNvPr id="50210" name="Rectangle 19"/>
                <p:cNvSpPr>
                  <a:spLocks noChangeArrowheads="1"/>
                </p:cNvSpPr>
                <p:nvPr/>
              </p:nvSpPr>
              <p:spPr bwMode="auto">
                <a:xfrm>
                  <a:off x="1065" y="346"/>
                  <a:ext cx="21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1400" b="1">
                      <a:cs typeface="Times New Roman" panose="02020603050405020304" pitchFamily="18" charset="0"/>
                    </a:rPr>
                    <a:t>A SELECT statement in a PL/SQL block retrieves no rows or a nonexistent row of an index-by table is referenced</a:t>
                  </a:r>
                </a:p>
                <a:p>
                  <a:pPr eaLnBrk="1" hangingPunct="1">
                    <a:spcBef>
                      <a:spcPct val="0"/>
                    </a:spcBef>
                    <a:buClrTx/>
                    <a:buFontTx/>
                    <a:buNone/>
                  </a:pPr>
                  <a:endParaRPr lang="en-US" altLang="en-US" sz="1400" b="1"/>
                </a:p>
              </p:txBody>
            </p:sp>
            <p:sp>
              <p:nvSpPr>
                <p:cNvPr id="50211" name="Rectangle 20"/>
                <p:cNvSpPr>
                  <a:spLocks noChangeArrowheads="1"/>
                </p:cNvSpPr>
                <p:nvPr/>
              </p:nvSpPr>
              <p:spPr bwMode="auto">
                <a:xfrm>
                  <a:off x="1022" y="346"/>
                  <a:ext cx="2246" cy="57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50186" name="Group 21"/>
              <p:cNvGrpSpPr>
                <a:grpSpLocks/>
              </p:cNvGrpSpPr>
              <p:nvPr/>
            </p:nvGrpSpPr>
            <p:grpSpPr bwMode="auto">
              <a:xfrm>
                <a:off x="0" y="922"/>
                <a:ext cx="1022" cy="461"/>
                <a:chOff x="0" y="922"/>
                <a:chExt cx="1022" cy="461"/>
              </a:xfrm>
            </p:grpSpPr>
            <p:sp>
              <p:nvSpPr>
                <p:cNvPr id="50208" name="Rectangle 22"/>
                <p:cNvSpPr>
                  <a:spLocks noChangeArrowheads="1"/>
                </p:cNvSpPr>
                <p:nvPr/>
              </p:nvSpPr>
              <p:spPr bwMode="auto">
                <a:xfrm>
                  <a:off x="43" y="922"/>
                  <a:ext cx="936" cy="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1400" b="1">
                      <a:cs typeface="Times New Roman" panose="02020603050405020304" pitchFamily="18" charset="0"/>
                    </a:rPr>
                    <a:t>TOO_MANY_ROWS</a:t>
                  </a:r>
                </a:p>
                <a:p>
                  <a:pPr eaLnBrk="1" hangingPunct="1">
                    <a:spcBef>
                      <a:spcPct val="0"/>
                    </a:spcBef>
                    <a:buClrTx/>
                    <a:buFontTx/>
                    <a:buNone/>
                  </a:pPr>
                  <a:endParaRPr lang="en-US" altLang="en-US" sz="1400" b="1"/>
                </a:p>
              </p:txBody>
            </p:sp>
            <p:sp>
              <p:nvSpPr>
                <p:cNvPr id="50209" name="Rectangle 23"/>
                <p:cNvSpPr>
                  <a:spLocks noChangeArrowheads="1"/>
                </p:cNvSpPr>
                <p:nvPr/>
              </p:nvSpPr>
              <p:spPr bwMode="auto">
                <a:xfrm>
                  <a:off x="0" y="922"/>
                  <a:ext cx="1022"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50187" name="Group 24"/>
              <p:cNvGrpSpPr>
                <a:grpSpLocks/>
              </p:cNvGrpSpPr>
              <p:nvPr/>
            </p:nvGrpSpPr>
            <p:grpSpPr bwMode="auto">
              <a:xfrm>
                <a:off x="1022" y="922"/>
                <a:ext cx="2246" cy="461"/>
                <a:chOff x="1022" y="922"/>
                <a:chExt cx="2246" cy="461"/>
              </a:xfrm>
            </p:grpSpPr>
            <p:sp>
              <p:nvSpPr>
                <p:cNvPr id="50206" name="Rectangle 25"/>
                <p:cNvSpPr>
                  <a:spLocks noChangeArrowheads="1"/>
                </p:cNvSpPr>
                <p:nvPr/>
              </p:nvSpPr>
              <p:spPr bwMode="auto">
                <a:xfrm>
                  <a:off x="1065" y="922"/>
                  <a:ext cx="2160" cy="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1400" b="1">
                      <a:cs typeface="Times New Roman" panose="02020603050405020304" pitchFamily="18" charset="0"/>
                    </a:rPr>
                    <a:t>A SELECT statement in a PL/SQL block retrieves more than one row</a:t>
                  </a:r>
                </a:p>
                <a:p>
                  <a:pPr eaLnBrk="1" hangingPunct="1">
                    <a:spcBef>
                      <a:spcPct val="0"/>
                    </a:spcBef>
                    <a:buClrTx/>
                    <a:buFontTx/>
                    <a:buNone/>
                  </a:pPr>
                  <a:endParaRPr lang="en-US" altLang="en-US" sz="1400" b="1"/>
                </a:p>
              </p:txBody>
            </p:sp>
            <p:sp>
              <p:nvSpPr>
                <p:cNvPr id="50207" name="Rectangle 26"/>
                <p:cNvSpPr>
                  <a:spLocks noChangeArrowheads="1"/>
                </p:cNvSpPr>
                <p:nvPr/>
              </p:nvSpPr>
              <p:spPr bwMode="auto">
                <a:xfrm>
                  <a:off x="1022" y="922"/>
                  <a:ext cx="2246"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50188" name="Group 27"/>
              <p:cNvGrpSpPr>
                <a:grpSpLocks/>
              </p:cNvGrpSpPr>
              <p:nvPr/>
            </p:nvGrpSpPr>
            <p:grpSpPr bwMode="auto">
              <a:xfrm>
                <a:off x="0" y="1383"/>
                <a:ext cx="1022" cy="461"/>
                <a:chOff x="0" y="1383"/>
                <a:chExt cx="1022" cy="461"/>
              </a:xfrm>
            </p:grpSpPr>
            <p:sp>
              <p:nvSpPr>
                <p:cNvPr id="50204" name="Rectangle 28"/>
                <p:cNvSpPr>
                  <a:spLocks noChangeArrowheads="1"/>
                </p:cNvSpPr>
                <p:nvPr/>
              </p:nvSpPr>
              <p:spPr bwMode="auto">
                <a:xfrm>
                  <a:off x="43" y="1383"/>
                  <a:ext cx="936" cy="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1400" b="1">
                      <a:cs typeface="Times New Roman" panose="02020603050405020304" pitchFamily="18" charset="0"/>
                    </a:rPr>
                    <a:t>CASE_NOT_FOUND</a:t>
                  </a:r>
                </a:p>
                <a:p>
                  <a:pPr eaLnBrk="1" hangingPunct="1">
                    <a:spcBef>
                      <a:spcPct val="0"/>
                    </a:spcBef>
                    <a:buClrTx/>
                    <a:buFontTx/>
                    <a:buNone/>
                  </a:pPr>
                  <a:endParaRPr lang="en-US" altLang="en-US" sz="1400" b="1"/>
                </a:p>
              </p:txBody>
            </p:sp>
            <p:sp>
              <p:nvSpPr>
                <p:cNvPr id="50205" name="Rectangle 29"/>
                <p:cNvSpPr>
                  <a:spLocks noChangeArrowheads="1"/>
                </p:cNvSpPr>
                <p:nvPr/>
              </p:nvSpPr>
              <p:spPr bwMode="auto">
                <a:xfrm>
                  <a:off x="0" y="1383"/>
                  <a:ext cx="1022"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50189" name="Group 30"/>
              <p:cNvGrpSpPr>
                <a:grpSpLocks/>
              </p:cNvGrpSpPr>
              <p:nvPr/>
            </p:nvGrpSpPr>
            <p:grpSpPr bwMode="auto">
              <a:xfrm>
                <a:off x="1022" y="1383"/>
                <a:ext cx="2246" cy="461"/>
                <a:chOff x="1022" y="1383"/>
                <a:chExt cx="2246" cy="461"/>
              </a:xfrm>
            </p:grpSpPr>
            <p:sp>
              <p:nvSpPr>
                <p:cNvPr id="50202" name="Rectangle 31"/>
                <p:cNvSpPr>
                  <a:spLocks noChangeArrowheads="1"/>
                </p:cNvSpPr>
                <p:nvPr/>
              </p:nvSpPr>
              <p:spPr bwMode="auto">
                <a:xfrm>
                  <a:off x="1065" y="1383"/>
                  <a:ext cx="2160" cy="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1400" b="1">
                      <a:cs typeface="Times New Roman" panose="02020603050405020304" pitchFamily="18" charset="0"/>
                    </a:rPr>
                    <a:t>No WHEN clause in the CASE statement is processed</a:t>
                  </a:r>
                </a:p>
                <a:p>
                  <a:pPr eaLnBrk="1" hangingPunct="1">
                    <a:spcBef>
                      <a:spcPct val="0"/>
                    </a:spcBef>
                    <a:buClrTx/>
                    <a:buFontTx/>
                    <a:buNone/>
                  </a:pPr>
                  <a:endParaRPr lang="en-US" altLang="en-US" sz="1400" b="1"/>
                </a:p>
              </p:txBody>
            </p:sp>
            <p:sp>
              <p:nvSpPr>
                <p:cNvPr id="50203" name="Rectangle 32"/>
                <p:cNvSpPr>
                  <a:spLocks noChangeArrowheads="1"/>
                </p:cNvSpPr>
                <p:nvPr/>
              </p:nvSpPr>
              <p:spPr bwMode="auto">
                <a:xfrm>
                  <a:off x="1022" y="1383"/>
                  <a:ext cx="2246"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50190" name="Group 33"/>
              <p:cNvGrpSpPr>
                <a:grpSpLocks/>
              </p:cNvGrpSpPr>
              <p:nvPr/>
            </p:nvGrpSpPr>
            <p:grpSpPr bwMode="auto">
              <a:xfrm>
                <a:off x="0" y="1844"/>
                <a:ext cx="1022" cy="346"/>
                <a:chOff x="0" y="1844"/>
                <a:chExt cx="1022" cy="346"/>
              </a:xfrm>
            </p:grpSpPr>
            <p:sp>
              <p:nvSpPr>
                <p:cNvPr id="50200" name="Rectangle 34"/>
                <p:cNvSpPr>
                  <a:spLocks noChangeArrowheads="1"/>
                </p:cNvSpPr>
                <p:nvPr/>
              </p:nvSpPr>
              <p:spPr bwMode="auto">
                <a:xfrm>
                  <a:off x="43" y="1844"/>
                  <a:ext cx="936" cy="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1400" b="1">
                      <a:cs typeface="Times New Roman" panose="02020603050405020304" pitchFamily="18" charset="0"/>
                    </a:rPr>
                    <a:t>ZERO_DIVIDE</a:t>
                  </a:r>
                </a:p>
                <a:p>
                  <a:pPr eaLnBrk="1" hangingPunct="1">
                    <a:spcBef>
                      <a:spcPct val="0"/>
                    </a:spcBef>
                    <a:buClrTx/>
                    <a:buFontTx/>
                    <a:buNone/>
                  </a:pPr>
                  <a:endParaRPr lang="en-US" altLang="en-US" sz="1400" b="1"/>
                </a:p>
              </p:txBody>
            </p:sp>
            <p:sp>
              <p:nvSpPr>
                <p:cNvPr id="50201" name="Rectangle 35"/>
                <p:cNvSpPr>
                  <a:spLocks noChangeArrowheads="1"/>
                </p:cNvSpPr>
                <p:nvPr/>
              </p:nvSpPr>
              <p:spPr bwMode="auto">
                <a:xfrm>
                  <a:off x="0" y="1844"/>
                  <a:ext cx="1022" cy="34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50191" name="Group 36"/>
              <p:cNvGrpSpPr>
                <a:grpSpLocks/>
              </p:cNvGrpSpPr>
              <p:nvPr/>
            </p:nvGrpSpPr>
            <p:grpSpPr bwMode="auto">
              <a:xfrm>
                <a:off x="1022" y="1844"/>
                <a:ext cx="2246" cy="346"/>
                <a:chOff x="1022" y="1844"/>
                <a:chExt cx="2246" cy="346"/>
              </a:xfrm>
            </p:grpSpPr>
            <p:sp>
              <p:nvSpPr>
                <p:cNvPr id="50198" name="Rectangle 37"/>
                <p:cNvSpPr>
                  <a:spLocks noChangeArrowheads="1"/>
                </p:cNvSpPr>
                <p:nvPr/>
              </p:nvSpPr>
              <p:spPr bwMode="auto">
                <a:xfrm>
                  <a:off x="1065" y="1844"/>
                  <a:ext cx="2160" cy="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1400" b="1">
                      <a:cs typeface="Times New Roman" panose="02020603050405020304" pitchFamily="18" charset="0"/>
                    </a:rPr>
                    <a:t>Attempted division by zero</a:t>
                  </a:r>
                </a:p>
                <a:p>
                  <a:pPr eaLnBrk="1" hangingPunct="1">
                    <a:spcBef>
                      <a:spcPct val="0"/>
                    </a:spcBef>
                    <a:buClrTx/>
                    <a:buFontTx/>
                    <a:buNone/>
                  </a:pPr>
                  <a:endParaRPr lang="en-US" altLang="en-US" sz="1400" b="1"/>
                </a:p>
              </p:txBody>
            </p:sp>
            <p:sp>
              <p:nvSpPr>
                <p:cNvPr id="50199" name="Rectangle 38"/>
                <p:cNvSpPr>
                  <a:spLocks noChangeArrowheads="1"/>
                </p:cNvSpPr>
                <p:nvPr/>
              </p:nvSpPr>
              <p:spPr bwMode="auto">
                <a:xfrm>
                  <a:off x="1022" y="1844"/>
                  <a:ext cx="2246" cy="34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50192" name="Group 39"/>
              <p:cNvGrpSpPr>
                <a:grpSpLocks/>
              </p:cNvGrpSpPr>
              <p:nvPr/>
            </p:nvGrpSpPr>
            <p:grpSpPr bwMode="auto">
              <a:xfrm>
                <a:off x="0" y="2190"/>
                <a:ext cx="1022" cy="461"/>
                <a:chOff x="0" y="2190"/>
                <a:chExt cx="1022" cy="461"/>
              </a:xfrm>
            </p:grpSpPr>
            <p:sp>
              <p:nvSpPr>
                <p:cNvPr id="50196" name="Rectangle 40"/>
                <p:cNvSpPr>
                  <a:spLocks noChangeArrowheads="1"/>
                </p:cNvSpPr>
                <p:nvPr/>
              </p:nvSpPr>
              <p:spPr bwMode="auto">
                <a:xfrm>
                  <a:off x="43" y="2190"/>
                  <a:ext cx="936" cy="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1400" b="1">
                      <a:cs typeface="Times New Roman" panose="02020603050405020304" pitchFamily="18" charset="0"/>
                    </a:rPr>
                    <a:t>DUP_VAL_ON_INDEX</a:t>
                  </a:r>
                </a:p>
                <a:p>
                  <a:pPr eaLnBrk="1" hangingPunct="1">
                    <a:spcBef>
                      <a:spcPct val="0"/>
                    </a:spcBef>
                    <a:buClrTx/>
                    <a:buFontTx/>
                    <a:buNone/>
                  </a:pPr>
                  <a:endParaRPr lang="en-US" altLang="en-US" sz="1400" b="1"/>
                </a:p>
              </p:txBody>
            </p:sp>
            <p:sp>
              <p:nvSpPr>
                <p:cNvPr id="50197" name="Rectangle 41"/>
                <p:cNvSpPr>
                  <a:spLocks noChangeArrowheads="1"/>
                </p:cNvSpPr>
                <p:nvPr/>
              </p:nvSpPr>
              <p:spPr bwMode="auto">
                <a:xfrm>
                  <a:off x="0" y="2190"/>
                  <a:ext cx="1022"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50193" name="Group 42"/>
              <p:cNvGrpSpPr>
                <a:grpSpLocks/>
              </p:cNvGrpSpPr>
              <p:nvPr/>
            </p:nvGrpSpPr>
            <p:grpSpPr bwMode="auto">
              <a:xfrm>
                <a:off x="1022" y="2190"/>
                <a:ext cx="2246" cy="461"/>
                <a:chOff x="1022" y="2190"/>
                <a:chExt cx="2246" cy="461"/>
              </a:xfrm>
            </p:grpSpPr>
            <p:sp>
              <p:nvSpPr>
                <p:cNvPr id="50194" name="Rectangle 43"/>
                <p:cNvSpPr>
                  <a:spLocks noChangeArrowheads="1"/>
                </p:cNvSpPr>
                <p:nvPr/>
              </p:nvSpPr>
              <p:spPr bwMode="auto">
                <a:xfrm>
                  <a:off x="1065" y="2190"/>
                  <a:ext cx="2160" cy="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1400" b="1">
                      <a:cs typeface="Times New Roman" panose="02020603050405020304" pitchFamily="18" charset="0"/>
                    </a:rPr>
                    <a:t>Attempted violation of a unique or primary key column constraint</a:t>
                  </a:r>
                </a:p>
                <a:p>
                  <a:pPr eaLnBrk="1" hangingPunct="1">
                    <a:spcBef>
                      <a:spcPct val="0"/>
                    </a:spcBef>
                    <a:buClrTx/>
                    <a:buFontTx/>
                    <a:buNone/>
                  </a:pPr>
                  <a:endParaRPr lang="en-US" altLang="en-US" sz="1400" b="1"/>
                </a:p>
              </p:txBody>
            </p:sp>
            <p:sp>
              <p:nvSpPr>
                <p:cNvPr id="50195" name="Rectangle 44"/>
                <p:cNvSpPr>
                  <a:spLocks noChangeArrowheads="1"/>
                </p:cNvSpPr>
                <p:nvPr/>
              </p:nvSpPr>
              <p:spPr bwMode="auto">
                <a:xfrm>
                  <a:off x="1022" y="2190"/>
                  <a:ext cx="2246"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sp>
          <p:nvSpPr>
            <p:cNvPr id="50181" name="Rectangle 45"/>
            <p:cNvSpPr>
              <a:spLocks noChangeArrowheads="1"/>
            </p:cNvSpPr>
            <p:nvPr/>
          </p:nvSpPr>
          <p:spPr bwMode="auto">
            <a:xfrm>
              <a:off x="-3" y="-3"/>
              <a:ext cx="3274" cy="2657"/>
            </a:xfrm>
            <a:prstGeom prst="rect">
              <a:avLst/>
            </a:prstGeom>
            <a:noFill/>
            <a:ln w="9525">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spTree>
    <p:extLst>
      <p:ext uri="{BB962C8B-B14F-4D97-AF65-F5344CB8AC3E}">
        <p14:creationId xmlns:p14="http://schemas.microsoft.com/office/powerpoint/2010/main" val="54820524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4"/>
          <p:cNvSpPr>
            <a:spLocks noGrp="1"/>
          </p:cNvSpPr>
          <p:nvPr>
            <p:ph type="title" idx="4294967295"/>
          </p:nvPr>
        </p:nvSpPr>
        <p:spPr>
          <a:xfrm>
            <a:off x="381000" y="74614"/>
            <a:ext cx="7564438" cy="669925"/>
          </a:xfrm>
        </p:spPr>
        <p:txBody>
          <a:bodyPr/>
          <a:lstStyle/>
          <a:p>
            <a:pPr eaLnBrk="1" hangingPunct="1"/>
            <a:r>
              <a:rPr altLang="en-US" dirty="0" smtClean="0">
                <a:solidFill>
                  <a:schemeClr val="tx1"/>
                </a:solidFill>
              </a:rPr>
              <a:t>Example</a:t>
            </a:r>
          </a:p>
        </p:txBody>
      </p:sp>
      <p:pic>
        <p:nvPicPr>
          <p:cNvPr id="51203" name="Picture 3" descr="Figure031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1201" y="1306513"/>
            <a:ext cx="3883025" cy="403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4512120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5"/>
          <p:cNvSpPr>
            <a:spLocks noGrp="1"/>
          </p:cNvSpPr>
          <p:nvPr>
            <p:ph idx="4294967295"/>
          </p:nvPr>
        </p:nvSpPr>
        <p:spPr>
          <a:xfrm>
            <a:off x="862014" y="1154114"/>
            <a:ext cx="8662987" cy="4956175"/>
          </a:xfrm>
        </p:spPr>
        <p:txBody>
          <a:bodyPr/>
          <a:lstStyle/>
          <a:p>
            <a:pPr marL="609600" indent="-609600">
              <a:defRPr/>
            </a:pPr>
            <a:endParaRPr lang="en-US" dirty="0" smtClean="0"/>
          </a:p>
          <a:p>
            <a:pPr>
              <a:defRPr/>
            </a:pPr>
            <a:r>
              <a:rPr lang="en-US" dirty="0" smtClean="0"/>
              <a:t>Allows developers to associate their own error number and message to an error</a:t>
            </a:r>
          </a:p>
          <a:p>
            <a:pPr>
              <a:lnSpc>
                <a:spcPct val="90000"/>
              </a:lnSpc>
              <a:buFont typeface="Wingdings" panose="05000000000000000000" pitchFamily="2" charset="2"/>
              <a:buNone/>
              <a:defRPr/>
            </a:pPr>
            <a:endParaRPr lang="en-GB" dirty="0" smtClean="0"/>
          </a:p>
        </p:txBody>
      </p:sp>
      <p:sp>
        <p:nvSpPr>
          <p:cNvPr id="52227" name="Title 4"/>
          <p:cNvSpPr>
            <a:spLocks noGrp="1"/>
          </p:cNvSpPr>
          <p:nvPr>
            <p:ph type="title" idx="4294967295"/>
          </p:nvPr>
        </p:nvSpPr>
        <p:spPr>
          <a:xfrm>
            <a:off x="381000" y="74614"/>
            <a:ext cx="7564438" cy="669925"/>
          </a:xfrm>
        </p:spPr>
        <p:txBody>
          <a:bodyPr/>
          <a:lstStyle/>
          <a:p>
            <a:pPr eaLnBrk="1" hangingPunct="1"/>
            <a:r>
              <a:rPr altLang="en-US" dirty="0" smtClean="0">
                <a:solidFill>
                  <a:schemeClr val="tx1"/>
                </a:solidFill>
              </a:rPr>
              <a:t>RAISE_APPLICATION_ERROR</a:t>
            </a:r>
          </a:p>
        </p:txBody>
      </p:sp>
    </p:spTree>
    <p:extLst>
      <p:ext uri="{BB962C8B-B14F-4D97-AF65-F5344CB8AC3E}">
        <p14:creationId xmlns:p14="http://schemas.microsoft.com/office/powerpoint/2010/main" val="172001831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5"/>
          <p:cNvSpPr>
            <a:spLocks noGrp="1"/>
          </p:cNvSpPr>
          <p:nvPr>
            <p:ph idx="4294967295"/>
          </p:nvPr>
        </p:nvSpPr>
        <p:spPr>
          <a:xfrm>
            <a:off x="862014" y="1219201"/>
            <a:ext cx="8662987" cy="4956175"/>
          </a:xfrm>
        </p:spPr>
        <p:txBody>
          <a:bodyPr/>
          <a:lstStyle/>
          <a:p>
            <a:pPr marL="609600" indent="-609600">
              <a:defRPr/>
            </a:pPr>
            <a:endParaRPr lang="en-US" dirty="0" smtClean="0"/>
          </a:p>
          <a:p>
            <a:pPr>
              <a:defRPr/>
            </a:pPr>
            <a:r>
              <a:rPr lang="en-US" dirty="0" smtClean="0"/>
              <a:t>When an error occurs in a block, processing immediately moves to the EXCEPTION section of the block.</a:t>
            </a:r>
          </a:p>
          <a:p>
            <a:pPr>
              <a:buFont typeface="Wingdings" panose="05000000000000000000" pitchFamily="2" charset="2"/>
              <a:buNone/>
              <a:defRPr/>
            </a:pPr>
            <a:endParaRPr lang="en-US" dirty="0" smtClean="0"/>
          </a:p>
          <a:p>
            <a:pPr>
              <a:defRPr/>
            </a:pPr>
            <a:r>
              <a:rPr lang="en-US" dirty="0" smtClean="0"/>
              <a:t>If the block is nested and no handlers address the error, the processing will then move to the EXCEPTION section of the enclosing block</a:t>
            </a:r>
          </a:p>
          <a:p>
            <a:pPr>
              <a:lnSpc>
                <a:spcPct val="90000"/>
              </a:lnSpc>
              <a:buFont typeface="Wingdings" panose="05000000000000000000" pitchFamily="2" charset="2"/>
              <a:buNone/>
              <a:defRPr/>
            </a:pPr>
            <a:endParaRPr lang="en-GB" dirty="0" smtClean="0"/>
          </a:p>
        </p:txBody>
      </p:sp>
      <p:sp>
        <p:nvSpPr>
          <p:cNvPr id="53251" name="Title 4"/>
          <p:cNvSpPr>
            <a:spLocks noGrp="1"/>
          </p:cNvSpPr>
          <p:nvPr>
            <p:ph type="title" idx="4294967295"/>
          </p:nvPr>
        </p:nvSpPr>
        <p:spPr>
          <a:xfrm>
            <a:off x="381000" y="139701"/>
            <a:ext cx="7564438" cy="669925"/>
          </a:xfrm>
        </p:spPr>
        <p:txBody>
          <a:bodyPr/>
          <a:lstStyle/>
          <a:p>
            <a:pPr eaLnBrk="1" hangingPunct="1"/>
            <a:r>
              <a:rPr altLang="en-US" dirty="0" smtClean="0">
                <a:solidFill>
                  <a:schemeClr val="tx1"/>
                </a:solidFill>
              </a:rPr>
              <a:t>Exception Propagation </a:t>
            </a:r>
          </a:p>
        </p:txBody>
      </p:sp>
    </p:spTree>
    <p:extLst>
      <p:ext uri="{BB962C8B-B14F-4D97-AF65-F5344CB8AC3E}">
        <p14:creationId xmlns:p14="http://schemas.microsoft.com/office/powerpoint/2010/main" val="317882477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5"/>
          <p:cNvSpPr>
            <a:spLocks noGrp="1"/>
          </p:cNvSpPr>
          <p:nvPr>
            <p:ph idx="4294967295"/>
          </p:nvPr>
        </p:nvSpPr>
        <p:spPr>
          <a:xfrm>
            <a:off x="862014" y="1219201"/>
            <a:ext cx="8662987" cy="4956175"/>
          </a:xfrm>
        </p:spPr>
        <p:txBody>
          <a:bodyPr/>
          <a:lstStyle/>
          <a:p>
            <a:pPr marL="609600" indent="-609600">
              <a:defRPr/>
            </a:pPr>
            <a:endParaRPr lang="en-US" dirty="0" smtClean="0"/>
          </a:p>
          <a:p>
            <a:pPr>
              <a:defRPr/>
            </a:pPr>
            <a:r>
              <a:rPr lang="en-GB" dirty="0" smtClean="0"/>
              <a:t>UTL_FILE package lets your PL/SQL programs read and write operating system</a:t>
            </a:r>
          </a:p>
          <a:p>
            <a:pPr>
              <a:defRPr/>
            </a:pPr>
            <a:r>
              <a:rPr lang="en-US" dirty="0"/>
              <a:t>The file I/O capabilities are similar to those of the </a:t>
            </a:r>
            <a:r>
              <a:rPr lang="en-US" dirty="0" smtClean="0"/>
              <a:t>standard operating </a:t>
            </a:r>
            <a:r>
              <a:rPr lang="en-US" dirty="0"/>
              <a:t>system stream file </a:t>
            </a:r>
            <a:r>
              <a:rPr lang="en-US" dirty="0" smtClean="0"/>
              <a:t>I/O</a:t>
            </a:r>
          </a:p>
          <a:p>
            <a:pPr>
              <a:defRPr/>
            </a:pPr>
            <a:r>
              <a:rPr lang="en-US" dirty="0" smtClean="0"/>
              <a:t>For example ,call the FOPEN function to return a file </a:t>
            </a:r>
            <a:r>
              <a:rPr lang="en-US" dirty="0" err="1" smtClean="0"/>
              <a:t>handle,which</a:t>
            </a:r>
            <a:r>
              <a:rPr lang="en-US" dirty="0" smtClean="0"/>
              <a:t> you then use in subsequent calls to GET_LINE or put to perform I/O to a file. </a:t>
            </a:r>
          </a:p>
          <a:p>
            <a:pPr marL="0" indent="0">
              <a:buNone/>
              <a:defRPr/>
            </a:pPr>
            <a:r>
              <a:rPr lang="en-US" dirty="0"/>
              <a:t> </a:t>
            </a:r>
            <a:r>
              <a:rPr lang="en-US" dirty="0" smtClean="0"/>
              <a:t> </a:t>
            </a:r>
          </a:p>
          <a:p>
            <a:pPr>
              <a:defRPr/>
            </a:pPr>
            <a:endParaRPr lang="en-GB" dirty="0" smtClean="0"/>
          </a:p>
        </p:txBody>
      </p:sp>
      <p:sp>
        <p:nvSpPr>
          <p:cNvPr id="53251" name="Title 4"/>
          <p:cNvSpPr>
            <a:spLocks noGrp="1"/>
          </p:cNvSpPr>
          <p:nvPr>
            <p:ph type="title" idx="4294967295"/>
          </p:nvPr>
        </p:nvSpPr>
        <p:spPr>
          <a:xfrm>
            <a:off x="381000" y="139701"/>
            <a:ext cx="7564438" cy="669925"/>
          </a:xfrm>
        </p:spPr>
        <p:txBody>
          <a:bodyPr/>
          <a:lstStyle/>
          <a:p>
            <a:pPr eaLnBrk="1" hangingPunct="1"/>
            <a:r>
              <a:rPr lang="en-US" altLang="en-US" dirty="0" smtClean="0">
                <a:solidFill>
                  <a:schemeClr val="tx1"/>
                </a:solidFill>
              </a:rPr>
              <a:t>UTL_FILE</a:t>
            </a:r>
            <a:endParaRPr altLang="en-US" dirty="0" smtClean="0">
              <a:solidFill>
                <a:schemeClr val="tx1"/>
              </a:solidFill>
            </a:endParaRPr>
          </a:p>
        </p:txBody>
      </p:sp>
      <p:sp>
        <p:nvSpPr>
          <p:cNvPr id="8" name="Rectangle 6"/>
          <p:cNvSpPr>
            <a:spLocks noChangeArrowheads="1"/>
          </p:cNvSpPr>
          <p:nvPr/>
        </p:nvSpPr>
        <p:spPr bwMode="auto">
          <a:xfrm>
            <a:off x="0" y="43934"/>
            <a:ext cx="184731"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13755026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5"/>
          <p:cNvSpPr>
            <a:spLocks noGrp="1"/>
          </p:cNvSpPr>
          <p:nvPr>
            <p:ph idx="4294967295"/>
          </p:nvPr>
        </p:nvSpPr>
        <p:spPr>
          <a:xfrm>
            <a:off x="896520" y="753375"/>
            <a:ext cx="8662987" cy="5345500"/>
          </a:xfrm>
        </p:spPr>
        <p:txBody>
          <a:bodyPr/>
          <a:lstStyle/>
          <a:p>
            <a:pPr marL="609600" indent="-609600">
              <a:defRPr/>
            </a:pPr>
            <a:endParaRPr lang="en-US" dirty="0" smtClean="0"/>
          </a:p>
          <a:p>
            <a:pPr>
              <a:defRPr/>
            </a:pPr>
            <a:r>
              <a:rPr lang="en-US" dirty="0"/>
              <a:t>A shell script is a simple method of programming that </a:t>
            </a:r>
            <a:r>
              <a:rPr lang="en-US" dirty="0" smtClean="0"/>
              <a:t>enables </a:t>
            </a:r>
            <a:r>
              <a:rPr lang="en-US" dirty="0"/>
              <a:t>anyone to use the power of the Unix command </a:t>
            </a:r>
            <a:r>
              <a:rPr lang="en-US" dirty="0" smtClean="0"/>
              <a:t>line.</a:t>
            </a:r>
          </a:p>
          <a:p>
            <a:pPr>
              <a:defRPr/>
            </a:pPr>
            <a:r>
              <a:rPr lang="en-US" dirty="0"/>
              <a:t>All you need for a shell script is the following template</a:t>
            </a:r>
            <a:r>
              <a:rPr lang="en-US" dirty="0" smtClean="0"/>
              <a:t>:</a:t>
            </a:r>
          </a:p>
          <a:p>
            <a:pPr marL="0" indent="0">
              <a:buNone/>
              <a:defRPr/>
            </a:pPr>
            <a:r>
              <a:rPr lang="en-GB" dirty="0" smtClean="0"/>
              <a:t>#/bin/</a:t>
            </a:r>
            <a:r>
              <a:rPr lang="en-GB" dirty="0" err="1" smtClean="0"/>
              <a:t>sh</a:t>
            </a:r>
            <a:endParaRPr lang="en-GB" dirty="0" smtClean="0"/>
          </a:p>
          <a:p>
            <a:pPr marL="0" indent="0">
              <a:buNone/>
              <a:defRPr/>
            </a:pPr>
            <a:r>
              <a:rPr lang="en-GB" dirty="0" smtClean="0"/>
              <a:t>Some commands</a:t>
            </a:r>
          </a:p>
          <a:p>
            <a:pPr>
              <a:defRPr/>
            </a:pPr>
            <a:r>
              <a:rPr lang="en-GB" dirty="0" err="1"/>
              <a:t>c</a:t>
            </a:r>
            <a:r>
              <a:rPr lang="en-GB" dirty="0" err="1" smtClean="0"/>
              <a:t>hmod</a:t>
            </a:r>
            <a:endParaRPr lang="en-GB" dirty="0" smtClean="0"/>
          </a:p>
          <a:p>
            <a:pPr>
              <a:defRPr/>
            </a:pPr>
            <a:r>
              <a:rPr lang="en-GB" dirty="0" err="1" smtClean="0"/>
              <a:t>awk</a:t>
            </a:r>
            <a:endParaRPr lang="en-GB" dirty="0"/>
          </a:p>
          <a:p>
            <a:pPr>
              <a:defRPr/>
            </a:pPr>
            <a:r>
              <a:rPr lang="en-GB" dirty="0" err="1" smtClean="0"/>
              <a:t>grep</a:t>
            </a:r>
            <a:endParaRPr lang="en-GB" dirty="0" smtClean="0"/>
          </a:p>
          <a:p>
            <a:pPr>
              <a:defRPr/>
            </a:pPr>
            <a:r>
              <a:rPr lang="en-GB" dirty="0" smtClean="0"/>
              <a:t>who</a:t>
            </a:r>
          </a:p>
          <a:p>
            <a:pPr>
              <a:defRPr/>
            </a:pPr>
            <a:r>
              <a:rPr lang="en-GB" dirty="0" smtClean="0"/>
              <a:t>head/tail</a:t>
            </a:r>
          </a:p>
          <a:p>
            <a:pPr>
              <a:defRPr/>
            </a:pPr>
            <a:r>
              <a:rPr lang="en-GB" dirty="0" err="1" smtClean="0"/>
              <a:t>sed</a:t>
            </a:r>
            <a:endParaRPr lang="en-GB" dirty="0" smtClean="0"/>
          </a:p>
          <a:p>
            <a:pPr>
              <a:defRPr/>
            </a:pPr>
            <a:r>
              <a:rPr lang="en-GB" dirty="0" smtClean="0"/>
              <a:t>sort</a:t>
            </a:r>
          </a:p>
          <a:p>
            <a:pPr>
              <a:defRPr/>
            </a:pPr>
            <a:r>
              <a:rPr lang="en-GB" dirty="0" smtClean="0"/>
              <a:t>date</a:t>
            </a:r>
          </a:p>
          <a:p>
            <a:pPr>
              <a:defRPr/>
            </a:pPr>
            <a:endParaRPr lang="en-GB" dirty="0" smtClean="0"/>
          </a:p>
          <a:p>
            <a:pPr>
              <a:defRPr/>
            </a:pPr>
            <a:endParaRPr lang="en-GB" dirty="0"/>
          </a:p>
          <a:p>
            <a:pPr>
              <a:defRPr/>
            </a:pPr>
            <a:endParaRPr lang="en-GB" dirty="0" smtClean="0"/>
          </a:p>
        </p:txBody>
      </p:sp>
      <p:sp>
        <p:nvSpPr>
          <p:cNvPr id="53251" name="Title 4"/>
          <p:cNvSpPr>
            <a:spLocks noGrp="1"/>
          </p:cNvSpPr>
          <p:nvPr>
            <p:ph type="title" idx="4294967295"/>
          </p:nvPr>
        </p:nvSpPr>
        <p:spPr>
          <a:xfrm>
            <a:off x="381000" y="139701"/>
            <a:ext cx="7564438" cy="774699"/>
          </a:xfrm>
        </p:spPr>
        <p:txBody>
          <a:bodyPr/>
          <a:lstStyle/>
          <a:p>
            <a:r>
              <a:rPr lang="en-GB" dirty="0" smtClean="0"/>
              <a:t/>
            </a:r>
            <a:br>
              <a:rPr lang="en-GB" dirty="0" smtClean="0"/>
            </a:br>
            <a:r>
              <a:rPr lang="en-GB" dirty="0" smtClean="0"/>
              <a:t>Unix </a:t>
            </a:r>
            <a:r>
              <a:rPr lang="en-GB" dirty="0"/>
              <a:t>shell </a:t>
            </a:r>
            <a:r>
              <a:rPr lang="en-GB" dirty="0" smtClean="0"/>
              <a:t>scripting</a:t>
            </a:r>
            <a:r>
              <a:rPr lang="en-GB" dirty="0"/>
              <a:t/>
            </a:r>
            <a:br>
              <a:rPr lang="en-GB" dirty="0"/>
            </a:br>
            <a:endParaRPr altLang="en-US" dirty="0" smtClean="0">
              <a:solidFill>
                <a:schemeClr val="tx1"/>
              </a:solidFill>
            </a:endParaRPr>
          </a:p>
        </p:txBody>
      </p:sp>
    </p:spTree>
    <p:extLst>
      <p:ext uri="{BB962C8B-B14F-4D97-AF65-F5344CB8AC3E}">
        <p14:creationId xmlns:p14="http://schemas.microsoft.com/office/powerpoint/2010/main" val="416950242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Content Placeholder 2"/>
          <p:cNvSpPr>
            <a:spLocks noGrp="1"/>
          </p:cNvSpPr>
          <p:nvPr>
            <p:ph idx="1"/>
          </p:nvPr>
        </p:nvSpPr>
        <p:spPr>
          <a:xfrm>
            <a:off x="679450" y="1495425"/>
            <a:ext cx="8845550" cy="4643438"/>
          </a:xfrm>
        </p:spPr>
        <p:txBody>
          <a:bodyPr/>
          <a:lstStyle/>
          <a:p>
            <a:pPr algn="ctr">
              <a:buFont typeface="Wingdings" panose="05000000000000000000" pitchFamily="2" charset="2"/>
              <a:buNone/>
            </a:pPr>
            <a:endParaRPr lang="en-US" altLang="en-US" sz="5400"/>
          </a:p>
          <a:p>
            <a:pPr algn="ctr">
              <a:buFont typeface="Wingdings" panose="05000000000000000000" pitchFamily="2" charset="2"/>
              <a:buNone/>
            </a:pPr>
            <a:r>
              <a:rPr lang="en-US" altLang="en-US" sz="5400"/>
              <a:t>Questions and Answers</a:t>
            </a:r>
          </a:p>
        </p:txBody>
      </p:sp>
    </p:spTree>
    <p:extLst>
      <p:ext uri="{BB962C8B-B14F-4D97-AF65-F5344CB8AC3E}">
        <p14:creationId xmlns:p14="http://schemas.microsoft.com/office/powerpoint/2010/main" val="196592033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322" name="Object 2"/>
          <p:cNvGraphicFramePr>
            <a:graphicFrameLocks noChangeAspect="1"/>
          </p:cNvGraphicFramePr>
          <p:nvPr>
            <p:custDataLst>
              <p:tags r:id="rId2"/>
            </p:custDataLst>
          </p:nvPr>
        </p:nvGraphicFramePr>
        <p:xfrm>
          <a:off x="381000" y="0"/>
          <a:ext cx="146050" cy="158750"/>
        </p:xfrm>
        <a:graphic>
          <a:graphicData uri="http://schemas.openxmlformats.org/presentationml/2006/ole">
            <mc:AlternateContent xmlns:mc="http://schemas.openxmlformats.org/markup-compatibility/2006">
              <mc:Choice xmlns:v="urn:schemas-microsoft-com:vml" Requires="v">
                <p:oleObj spid="_x0000_s10855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100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62427349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pics</a:t>
            </a:r>
            <a:endParaRPr lang="en-US" dirty="0"/>
          </a:p>
        </p:txBody>
      </p:sp>
      <p:sp>
        <p:nvSpPr>
          <p:cNvPr id="19" name="AutoShape 8"/>
          <p:cNvSpPr>
            <a:spLocks noChangeArrowheads="1"/>
          </p:cNvSpPr>
          <p:nvPr>
            <p:custDataLst>
              <p:tags r:id="rId1"/>
            </p:custDataLst>
          </p:nvPr>
        </p:nvSpPr>
        <p:spPr bwMode="gray">
          <a:xfrm>
            <a:off x="1365160" y="1558527"/>
            <a:ext cx="2597240" cy="460156"/>
          </a:xfrm>
          <a:prstGeom prst="rect">
            <a:avLst/>
          </a:prstGeom>
          <a:solidFill>
            <a:srgbClr val="4F81BD"/>
          </a:solidFill>
          <a:ln w="9525" cap="flat" cmpd="sng" algn="ctr">
            <a:noFill/>
            <a:prstDash val="solid"/>
          </a:ln>
          <a:effectLst/>
        </p:spPr>
        <p:txBody>
          <a:bodyPr lIns="1188720" rtlCol="0" anchor="ctr" anchorCtr="0"/>
          <a:lstStyle/>
          <a:p>
            <a:pPr defTabSz="914400" fontAlgn="auto">
              <a:spcBef>
                <a:spcPts val="0"/>
              </a:spcBef>
              <a:spcAft>
                <a:spcPts val="0"/>
              </a:spcAft>
              <a:defRPr/>
            </a:pPr>
            <a:endParaRPr lang="de-DE" sz="1600" b="1" kern="0" baseline="30000" dirty="0">
              <a:solidFill>
                <a:sysClr val="windowText" lastClr="000000"/>
              </a:solidFill>
            </a:endParaRPr>
          </a:p>
        </p:txBody>
      </p:sp>
      <p:sp>
        <p:nvSpPr>
          <p:cNvPr id="21" name="AutoShape 8"/>
          <p:cNvSpPr>
            <a:spLocks noChangeArrowheads="1"/>
          </p:cNvSpPr>
          <p:nvPr>
            <p:custDataLst>
              <p:tags r:id="rId2"/>
            </p:custDataLst>
          </p:nvPr>
        </p:nvSpPr>
        <p:spPr bwMode="gray">
          <a:xfrm>
            <a:off x="1365157" y="2865707"/>
            <a:ext cx="2597239" cy="460156"/>
          </a:xfrm>
          <a:prstGeom prst="rect">
            <a:avLst/>
          </a:prstGeom>
          <a:solidFill>
            <a:srgbClr val="4F81BD"/>
          </a:solidFill>
          <a:ln w="9525" cap="flat" cmpd="sng" algn="ctr">
            <a:noFill/>
            <a:prstDash val="solid"/>
          </a:ln>
          <a:effectLst/>
        </p:spPr>
        <p:txBody>
          <a:bodyPr lIns="548640" rtlCol="0" anchor="ctr" anchorCtr="0"/>
          <a:lstStyle/>
          <a:p>
            <a:pPr defTabSz="914400" fontAlgn="auto">
              <a:spcBef>
                <a:spcPts val="0"/>
              </a:spcBef>
              <a:spcAft>
                <a:spcPts val="0"/>
              </a:spcAft>
              <a:defRPr/>
            </a:pPr>
            <a:endParaRPr lang="de-DE" sz="1600" b="1" kern="0" dirty="0">
              <a:solidFill>
                <a:sysClr val="windowText" lastClr="000000"/>
              </a:solidFill>
            </a:endParaRPr>
          </a:p>
        </p:txBody>
      </p:sp>
      <p:sp>
        <p:nvSpPr>
          <p:cNvPr id="22" name="AutoShape 8"/>
          <p:cNvSpPr>
            <a:spLocks noChangeArrowheads="1"/>
          </p:cNvSpPr>
          <p:nvPr>
            <p:custDataLst>
              <p:tags r:id="rId3"/>
            </p:custDataLst>
          </p:nvPr>
        </p:nvSpPr>
        <p:spPr bwMode="gray">
          <a:xfrm>
            <a:off x="1227137" y="4229206"/>
            <a:ext cx="2597239" cy="460156"/>
          </a:xfrm>
          <a:prstGeom prst="rect">
            <a:avLst/>
          </a:prstGeom>
          <a:solidFill>
            <a:srgbClr val="4F81BD"/>
          </a:solidFill>
          <a:ln w="9525" cap="flat" cmpd="sng" algn="ctr">
            <a:noFill/>
            <a:prstDash val="solid"/>
          </a:ln>
          <a:effectLst/>
        </p:spPr>
        <p:txBody>
          <a:bodyPr lIns="548640" rtlCol="0" anchor="ctr" anchorCtr="0"/>
          <a:lstStyle/>
          <a:p>
            <a:pPr marL="0" lvl="2" indent="3175" defTabSz="914400">
              <a:spcBef>
                <a:spcPct val="40000"/>
              </a:spcBef>
              <a:spcAft>
                <a:spcPts val="400"/>
              </a:spcAft>
              <a:buClr>
                <a:srgbClr val="1F497D"/>
              </a:buClr>
              <a:defRPr/>
            </a:pPr>
            <a:endParaRPr lang="de-DE" sz="1600" b="1" kern="0" dirty="0" smtClean="0">
              <a:solidFill>
                <a:sysClr val="windowText" lastClr="000000"/>
              </a:solidFill>
            </a:endParaRPr>
          </a:p>
        </p:txBody>
      </p:sp>
      <p:sp>
        <p:nvSpPr>
          <p:cNvPr id="23" name="AutoShape 8"/>
          <p:cNvSpPr>
            <a:spLocks noChangeArrowheads="1"/>
          </p:cNvSpPr>
          <p:nvPr>
            <p:custDataLst>
              <p:tags r:id="rId4"/>
            </p:custDataLst>
          </p:nvPr>
        </p:nvSpPr>
        <p:spPr bwMode="gray">
          <a:xfrm>
            <a:off x="1365157" y="2196557"/>
            <a:ext cx="2597239" cy="460156"/>
          </a:xfrm>
          <a:prstGeom prst="rect">
            <a:avLst/>
          </a:prstGeom>
          <a:solidFill>
            <a:srgbClr val="4F81BD"/>
          </a:solidFill>
          <a:ln w="9525" cap="flat" cmpd="sng" algn="ctr">
            <a:noFill/>
            <a:prstDash val="solid"/>
          </a:ln>
          <a:effectLst/>
        </p:spPr>
        <p:txBody>
          <a:bodyPr lIns="548640" rtlCol="0" anchor="ctr" anchorCtr="0"/>
          <a:lstStyle/>
          <a:p>
            <a:pPr defTabSz="914400" fontAlgn="auto">
              <a:spcBef>
                <a:spcPts val="0"/>
              </a:spcBef>
              <a:spcAft>
                <a:spcPts val="0"/>
              </a:spcAft>
              <a:defRPr/>
            </a:pPr>
            <a:endParaRPr lang="de-DE" sz="1600" b="1" i="1" kern="0" baseline="30000" dirty="0">
              <a:solidFill>
                <a:sysClr val="windowText" lastClr="000000"/>
              </a:solidFill>
            </a:endParaRPr>
          </a:p>
        </p:txBody>
      </p:sp>
      <p:sp>
        <p:nvSpPr>
          <p:cNvPr id="24" name="AutoShape 8"/>
          <p:cNvSpPr>
            <a:spLocks noChangeArrowheads="1"/>
          </p:cNvSpPr>
          <p:nvPr>
            <p:custDataLst>
              <p:tags r:id="rId5"/>
            </p:custDataLst>
          </p:nvPr>
        </p:nvSpPr>
        <p:spPr bwMode="gray">
          <a:xfrm>
            <a:off x="1365156" y="3560056"/>
            <a:ext cx="2597239" cy="460156"/>
          </a:xfrm>
          <a:prstGeom prst="rect">
            <a:avLst/>
          </a:prstGeom>
          <a:solidFill>
            <a:srgbClr val="4F81BD"/>
          </a:solidFill>
          <a:ln w="9525" cap="flat" cmpd="sng" algn="ctr">
            <a:noFill/>
            <a:prstDash val="solid"/>
          </a:ln>
          <a:effectLst/>
        </p:spPr>
        <p:txBody>
          <a:bodyPr lIns="548640" rtlCol="0" anchor="ctr" anchorCtr="0"/>
          <a:lstStyle/>
          <a:p>
            <a:pPr defTabSz="914400" fontAlgn="auto">
              <a:spcBef>
                <a:spcPts val="0"/>
              </a:spcBef>
              <a:spcAft>
                <a:spcPts val="0"/>
              </a:spcAft>
              <a:defRPr/>
            </a:pPr>
            <a:endParaRPr lang="de-DE" sz="1600" b="1" kern="0" dirty="0">
              <a:solidFill>
                <a:sysClr val="windowText" lastClr="000000"/>
              </a:solidFill>
            </a:endParaRPr>
          </a:p>
        </p:txBody>
      </p:sp>
      <p:sp>
        <p:nvSpPr>
          <p:cNvPr id="25" name="Rectangle 24"/>
          <p:cNvSpPr>
            <a:spLocks/>
          </p:cNvSpPr>
          <p:nvPr/>
        </p:nvSpPr>
        <p:spPr bwMode="gray">
          <a:xfrm>
            <a:off x="3374571" y="1558527"/>
            <a:ext cx="5310643" cy="460155"/>
          </a:xfrm>
          <a:prstGeom prst="rect">
            <a:avLst/>
          </a:prstGeom>
          <a:solidFill>
            <a:sysClr val="window" lastClr="FFFFFF">
              <a:lumMod val="85000"/>
            </a:sysClr>
          </a:solidFill>
          <a:effectLst/>
        </p:spPr>
        <p:txBody>
          <a:bodyPr wrap="square" lIns="274320" anchor="ctr">
            <a:noAutofit/>
          </a:bodyPr>
          <a:lstStyle/>
          <a:p>
            <a:pPr marL="285750" indent="-285750" defTabSz="914400" eaLnBrk="0" hangingPunct="0">
              <a:spcBef>
                <a:spcPts val="200"/>
              </a:spcBef>
              <a:spcAft>
                <a:spcPts val="200"/>
              </a:spcAft>
              <a:buClr>
                <a:srgbClr val="0078A9"/>
              </a:buClr>
              <a:buFont typeface="Arial" pitchFamily="34" charset="0"/>
              <a:buChar char="•"/>
              <a:defRPr/>
            </a:pPr>
            <a:r>
              <a:rPr lang="en-US" sz="1600" dirty="0">
                <a:solidFill>
                  <a:srgbClr val="263147"/>
                </a:solidFill>
              </a:rPr>
              <a:t>Trigger </a:t>
            </a:r>
            <a:r>
              <a:rPr lang="en-US" sz="1600" dirty="0" smtClean="0">
                <a:solidFill>
                  <a:srgbClr val="263147"/>
                </a:solidFill>
              </a:rPr>
              <a:t> </a:t>
            </a:r>
            <a:r>
              <a:rPr lang="en-US" sz="1600" smtClean="0">
                <a:solidFill>
                  <a:srgbClr val="263147"/>
                </a:solidFill>
              </a:rPr>
              <a:t>and its Types</a:t>
            </a:r>
            <a:endParaRPr lang="de-DE" sz="1600" b="1" kern="0" dirty="0">
              <a:solidFill>
                <a:sysClr val="windowText" lastClr="000000"/>
              </a:solidFill>
              <a:ea typeface="Calibri" pitchFamily="34" charset="0"/>
            </a:endParaRPr>
          </a:p>
        </p:txBody>
      </p:sp>
      <p:sp>
        <p:nvSpPr>
          <p:cNvPr id="26" name="Rectangle 25"/>
          <p:cNvSpPr>
            <a:spLocks/>
          </p:cNvSpPr>
          <p:nvPr/>
        </p:nvSpPr>
        <p:spPr bwMode="gray">
          <a:xfrm>
            <a:off x="3374570" y="2866132"/>
            <a:ext cx="5310643" cy="467017"/>
          </a:xfrm>
          <a:prstGeom prst="rect">
            <a:avLst/>
          </a:prstGeom>
          <a:solidFill>
            <a:sysClr val="window" lastClr="FFFFFF">
              <a:lumMod val="85000"/>
            </a:sysClr>
          </a:solidFill>
          <a:effectLst/>
        </p:spPr>
        <p:txBody>
          <a:bodyPr wrap="square" lIns="274320" anchor="ctr">
            <a:noAutofit/>
          </a:bodyPr>
          <a:lstStyle/>
          <a:p>
            <a:pPr marL="285750" indent="-285750" defTabSz="914400" eaLnBrk="0" hangingPunct="0">
              <a:spcBef>
                <a:spcPts val="200"/>
              </a:spcBef>
              <a:spcAft>
                <a:spcPts val="200"/>
              </a:spcAft>
              <a:buClr>
                <a:srgbClr val="0078A9"/>
              </a:buClr>
              <a:buFont typeface="Arial" pitchFamily="34" charset="0"/>
              <a:buChar char="•"/>
              <a:defRPr/>
            </a:pPr>
            <a:endParaRPr lang="en-US" sz="1600" dirty="0"/>
          </a:p>
          <a:p>
            <a:pPr marL="285750" indent="-285750" defTabSz="914400" eaLnBrk="0" hangingPunct="0">
              <a:spcBef>
                <a:spcPts val="200"/>
              </a:spcBef>
              <a:spcAft>
                <a:spcPts val="200"/>
              </a:spcAft>
              <a:buClr>
                <a:srgbClr val="0078A9"/>
              </a:buClr>
              <a:buFont typeface="Arial" pitchFamily="34" charset="0"/>
              <a:buChar char="•"/>
              <a:defRPr/>
            </a:pPr>
            <a:endParaRPr lang="en-US" sz="1600" dirty="0" smtClean="0">
              <a:solidFill>
                <a:srgbClr val="263147"/>
              </a:solidFill>
            </a:endParaRPr>
          </a:p>
          <a:p>
            <a:pPr marL="285750" indent="-285750" defTabSz="914400" eaLnBrk="0" hangingPunct="0">
              <a:spcBef>
                <a:spcPts val="200"/>
              </a:spcBef>
              <a:spcAft>
                <a:spcPts val="200"/>
              </a:spcAft>
              <a:buClr>
                <a:srgbClr val="0078A9"/>
              </a:buClr>
              <a:buFont typeface="Arial" pitchFamily="34" charset="0"/>
              <a:buChar char="•"/>
              <a:defRPr/>
            </a:pPr>
            <a:r>
              <a:rPr lang="en-US" sz="1600" dirty="0" smtClean="0">
                <a:solidFill>
                  <a:srgbClr val="263147"/>
                </a:solidFill>
              </a:rPr>
              <a:t>Database </a:t>
            </a:r>
            <a:r>
              <a:rPr lang="en-US" sz="1600" dirty="0">
                <a:solidFill>
                  <a:srgbClr val="263147"/>
                </a:solidFill>
              </a:rPr>
              <a:t>Triggers</a:t>
            </a:r>
            <a:endParaRPr lang="de-DE" sz="1600" b="1" dirty="0"/>
          </a:p>
          <a:p>
            <a:pPr marL="285750" indent="-285750" defTabSz="914400" eaLnBrk="0" hangingPunct="0">
              <a:spcBef>
                <a:spcPts val="200"/>
              </a:spcBef>
              <a:spcAft>
                <a:spcPts val="200"/>
              </a:spcAft>
              <a:buClr>
                <a:srgbClr val="0078A9"/>
              </a:buClr>
              <a:buFont typeface="Arial" pitchFamily="34" charset="0"/>
              <a:buChar char="•"/>
              <a:defRPr/>
            </a:pPr>
            <a:endParaRPr lang="de-DE" sz="1600" b="1" kern="0" dirty="0">
              <a:solidFill>
                <a:sysClr val="windowText" lastClr="000000"/>
              </a:solidFill>
              <a:ea typeface="Calibri" pitchFamily="34" charset="0"/>
            </a:endParaRPr>
          </a:p>
          <a:p>
            <a:pPr marL="285750" indent="-285750" defTabSz="914400" eaLnBrk="0" hangingPunct="0">
              <a:spcBef>
                <a:spcPts val="200"/>
              </a:spcBef>
              <a:spcAft>
                <a:spcPts val="200"/>
              </a:spcAft>
              <a:buClr>
                <a:srgbClr val="0078A9"/>
              </a:buClr>
              <a:buFont typeface="Arial" pitchFamily="34" charset="0"/>
              <a:buChar char="•"/>
              <a:defRPr/>
            </a:pPr>
            <a:endParaRPr lang="de-DE" sz="1600" b="1" kern="0" dirty="0">
              <a:solidFill>
                <a:sysClr val="windowText" lastClr="000000"/>
              </a:solidFill>
              <a:ea typeface="Calibri" pitchFamily="34" charset="0"/>
            </a:endParaRPr>
          </a:p>
        </p:txBody>
      </p:sp>
      <p:sp>
        <p:nvSpPr>
          <p:cNvPr id="28" name="Rectangle 27"/>
          <p:cNvSpPr>
            <a:spLocks/>
          </p:cNvSpPr>
          <p:nvPr/>
        </p:nvSpPr>
        <p:spPr bwMode="gray">
          <a:xfrm>
            <a:off x="3268203" y="4227470"/>
            <a:ext cx="5310643" cy="461892"/>
          </a:xfrm>
          <a:prstGeom prst="rect">
            <a:avLst/>
          </a:prstGeom>
          <a:solidFill>
            <a:sysClr val="window" lastClr="FFFFFF">
              <a:lumMod val="85000"/>
            </a:sysClr>
          </a:solidFill>
          <a:effectLst/>
        </p:spPr>
        <p:txBody>
          <a:bodyPr wrap="square" lIns="274320" anchor="ctr">
            <a:noAutofit/>
          </a:bodyPr>
          <a:lstStyle/>
          <a:p>
            <a:pPr marL="285750" indent="-285750" defTabSz="914400" eaLnBrk="0" hangingPunct="0">
              <a:spcBef>
                <a:spcPts val="200"/>
              </a:spcBef>
              <a:spcAft>
                <a:spcPts val="200"/>
              </a:spcAft>
              <a:buClr>
                <a:srgbClr val="0078A9"/>
              </a:buClr>
              <a:buFont typeface="Arial" pitchFamily="34" charset="0"/>
              <a:buChar char="•"/>
              <a:defRPr/>
            </a:pPr>
            <a:endParaRPr lang="en-US" sz="1600" dirty="0"/>
          </a:p>
          <a:p>
            <a:pPr marL="285750" indent="-285750" defTabSz="914400" eaLnBrk="0" hangingPunct="0">
              <a:spcBef>
                <a:spcPts val="200"/>
              </a:spcBef>
              <a:spcAft>
                <a:spcPts val="200"/>
              </a:spcAft>
              <a:buClr>
                <a:srgbClr val="0078A9"/>
              </a:buClr>
              <a:buFont typeface="Arial" pitchFamily="34" charset="0"/>
              <a:buChar char="•"/>
              <a:defRPr/>
            </a:pPr>
            <a:endParaRPr lang="en-US" sz="1600" dirty="0" smtClean="0"/>
          </a:p>
          <a:p>
            <a:pPr marL="285750" indent="-285750" defTabSz="914400" eaLnBrk="0" hangingPunct="0">
              <a:spcBef>
                <a:spcPts val="200"/>
              </a:spcBef>
              <a:spcAft>
                <a:spcPts val="200"/>
              </a:spcAft>
              <a:buClr>
                <a:srgbClr val="0078A9"/>
              </a:buClr>
              <a:buFont typeface="Arial" pitchFamily="34" charset="0"/>
              <a:buChar char="•"/>
              <a:defRPr/>
            </a:pPr>
            <a:r>
              <a:rPr lang="en-US" sz="1600" dirty="0" smtClean="0"/>
              <a:t>Raise </a:t>
            </a:r>
            <a:r>
              <a:rPr lang="en-US" sz="1600" dirty="0"/>
              <a:t>Application error</a:t>
            </a:r>
            <a:endParaRPr lang="de-DE" sz="1600" b="1" dirty="0"/>
          </a:p>
          <a:p>
            <a:pPr marL="285750" indent="-285750" defTabSz="914400" eaLnBrk="0" hangingPunct="0">
              <a:spcBef>
                <a:spcPts val="200"/>
              </a:spcBef>
              <a:spcAft>
                <a:spcPts val="200"/>
              </a:spcAft>
              <a:buClr>
                <a:srgbClr val="0078A9"/>
              </a:buClr>
              <a:buFont typeface="Arial" pitchFamily="34" charset="0"/>
              <a:buChar char="•"/>
              <a:defRPr/>
            </a:pPr>
            <a:endParaRPr lang="de-DE" sz="1600" b="1" kern="0" dirty="0">
              <a:solidFill>
                <a:sysClr val="windowText" lastClr="000000"/>
              </a:solidFill>
              <a:ea typeface="Calibri" pitchFamily="34" charset="0"/>
            </a:endParaRPr>
          </a:p>
          <a:p>
            <a:pPr marL="285750" indent="-285750" defTabSz="914400" eaLnBrk="0" hangingPunct="0">
              <a:spcBef>
                <a:spcPts val="200"/>
              </a:spcBef>
              <a:spcAft>
                <a:spcPts val="200"/>
              </a:spcAft>
              <a:buClr>
                <a:srgbClr val="0078A9"/>
              </a:buClr>
              <a:buFont typeface="Arial" pitchFamily="34" charset="0"/>
              <a:buChar char="•"/>
              <a:defRPr/>
            </a:pPr>
            <a:endParaRPr lang="de-DE" sz="1600" b="1" kern="0" dirty="0">
              <a:solidFill>
                <a:sysClr val="windowText" lastClr="000000"/>
              </a:solidFill>
              <a:ea typeface="Calibri" pitchFamily="34" charset="0"/>
            </a:endParaRPr>
          </a:p>
        </p:txBody>
      </p:sp>
      <p:sp>
        <p:nvSpPr>
          <p:cNvPr id="29" name="Rectangle 28"/>
          <p:cNvSpPr>
            <a:spLocks/>
          </p:cNvSpPr>
          <p:nvPr/>
        </p:nvSpPr>
        <p:spPr bwMode="gray">
          <a:xfrm>
            <a:off x="3374570" y="2194821"/>
            <a:ext cx="5310643" cy="468753"/>
          </a:xfrm>
          <a:prstGeom prst="rect">
            <a:avLst/>
          </a:prstGeom>
          <a:solidFill>
            <a:sysClr val="window" lastClr="FFFFFF">
              <a:lumMod val="85000"/>
            </a:sysClr>
          </a:solidFill>
          <a:effectLst/>
        </p:spPr>
        <p:txBody>
          <a:bodyPr wrap="square" lIns="274320" anchor="ctr">
            <a:noAutofit/>
          </a:bodyPr>
          <a:lstStyle/>
          <a:p>
            <a:pPr marL="285750" indent="-285750" defTabSz="914400" eaLnBrk="0" hangingPunct="0">
              <a:spcBef>
                <a:spcPts val="200"/>
              </a:spcBef>
              <a:spcAft>
                <a:spcPts val="200"/>
              </a:spcAft>
              <a:buClr>
                <a:srgbClr val="0078A9"/>
              </a:buClr>
              <a:buFont typeface="Arial" pitchFamily="34" charset="0"/>
              <a:buChar char="•"/>
              <a:defRPr/>
            </a:pPr>
            <a:r>
              <a:rPr lang="en-US" sz="1600" dirty="0">
                <a:solidFill>
                  <a:srgbClr val="263147"/>
                </a:solidFill>
              </a:rPr>
              <a:t>Bind Variable</a:t>
            </a:r>
            <a:endParaRPr lang="de-DE" sz="1600" b="1" kern="0" dirty="0">
              <a:solidFill>
                <a:sysClr val="windowText" lastClr="000000"/>
              </a:solidFill>
              <a:ea typeface="Calibri" pitchFamily="34" charset="0"/>
            </a:endParaRPr>
          </a:p>
        </p:txBody>
      </p:sp>
      <p:sp>
        <p:nvSpPr>
          <p:cNvPr id="30" name="Rectangle 29"/>
          <p:cNvSpPr>
            <a:spLocks/>
          </p:cNvSpPr>
          <p:nvPr/>
        </p:nvSpPr>
        <p:spPr bwMode="gray">
          <a:xfrm>
            <a:off x="3374570" y="3565829"/>
            <a:ext cx="5310643" cy="460155"/>
          </a:xfrm>
          <a:prstGeom prst="rect">
            <a:avLst/>
          </a:prstGeom>
          <a:solidFill>
            <a:sysClr val="window" lastClr="FFFFFF">
              <a:lumMod val="85000"/>
            </a:sysClr>
          </a:solidFill>
          <a:effectLst/>
        </p:spPr>
        <p:txBody>
          <a:bodyPr wrap="square" lIns="274320" anchor="ctr">
            <a:noAutofit/>
          </a:bodyPr>
          <a:lstStyle/>
          <a:p>
            <a:pPr marL="285750" indent="-285750" defTabSz="914400" eaLnBrk="0" hangingPunct="0">
              <a:spcBef>
                <a:spcPts val="200"/>
              </a:spcBef>
              <a:spcAft>
                <a:spcPts val="200"/>
              </a:spcAft>
              <a:buClr>
                <a:srgbClr val="0078A9"/>
              </a:buClr>
              <a:buFont typeface="Arial" pitchFamily="34" charset="0"/>
              <a:buChar char="•"/>
              <a:defRPr/>
            </a:pPr>
            <a:endParaRPr lang="en-US" sz="1600" dirty="0" smtClean="0"/>
          </a:p>
          <a:p>
            <a:pPr marL="285750" indent="-285750" defTabSz="914400" eaLnBrk="0" hangingPunct="0">
              <a:spcBef>
                <a:spcPts val="200"/>
              </a:spcBef>
              <a:spcAft>
                <a:spcPts val="200"/>
              </a:spcAft>
              <a:buClr>
                <a:srgbClr val="0078A9"/>
              </a:buClr>
              <a:buFont typeface="Arial" pitchFamily="34" charset="0"/>
              <a:buChar char="•"/>
              <a:defRPr/>
            </a:pPr>
            <a:r>
              <a:rPr lang="en-US" sz="1600" dirty="0" smtClean="0"/>
              <a:t>Predefined </a:t>
            </a:r>
            <a:r>
              <a:rPr lang="en-US" sz="1600" dirty="0"/>
              <a:t>Oracle Errors</a:t>
            </a:r>
            <a:endParaRPr lang="de-DE" sz="1600" b="1" kern="0" dirty="0">
              <a:solidFill>
                <a:sysClr val="windowText" lastClr="000000"/>
              </a:solidFill>
              <a:ea typeface="Calibri" pitchFamily="34" charset="0"/>
            </a:endParaRPr>
          </a:p>
          <a:p>
            <a:pPr marL="285750" indent="-285750" defTabSz="914400" eaLnBrk="0" hangingPunct="0">
              <a:spcBef>
                <a:spcPts val="200"/>
              </a:spcBef>
              <a:spcAft>
                <a:spcPts val="200"/>
              </a:spcAft>
              <a:buClr>
                <a:srgbClr val="0078A9"/>
              </a:buClr>
              <a:buFont typeface="Arial" pitchFamily="34" charset="0"/>
              <a:buChar char="•"/>
              <a:defRPr/>
            </a:pPr>
            <a:endParaRPr lang="de-DE" sz="1600" b="1" kern="0" dirty="0">
              <a:solidFill>
                <a:sysClr val="windowText" lastClr="000000"/>
              </a:solidFill>
              <a:ea typeface="Calibri" pitchFamily="34" charset="0"/>
            </a:endParaRPr>
          </a:p>
        </p:txBody>
      </p:sp>
      <p:sp>
        <p:nvSpPr>
          <p:cNvPr id="15" name="AutoShape 8"/>
          <p:cNvSpPr>
            <a:spLocks noChangeArrowheads="1"/>
          </p:cNvSpPr>
          <p:nvPr>
            <p:custDataLst>
              <p:tags r:id="rId6"/>
            </p:custDataLst>
          </p:nvPr>
        </p:nvSpPr>
        <p:spPr bwMode="gray">
          <a:xfrm>
            <a:off x="670964" y="5493235"/>
            <a:ext cx="2597239" cy="460156"/>
          </a:xfrm>
          <a:prstGeom prst="rect">
            <a:avLst/>
          </a:prstGeom>
          <a:solidFill>
            <a:srgbClr val="4F81BD"/>
          </a:solidFill>
          <a:ln w="9525" cap="flat" cmpd="sng" algn="ctr">
            <a:noFill/>
            <a:prstDash val="solid"/>
          </a:ln>
          <a:effectLst/>
        </p:spPr>
        <p:txBody>
          <a:bodyPr lIns="548640" rtlCol="0" anchor="ctr" anchorCtr="0"/>
          <a:lstStyle/>
          <a:p>
            <a:pPr marL="0" lvl="2" indent="3175" defTabSz="914400">
              <a:spcBef>
                <a:spcPct val="40000"/>
              </a:spcBef>
              <a:spcAft>
                <a:spcPts val="400"/>
              </a:spcAft>
              <a:buClr>
                <a:srgbClr val="1F497D"/>
              </a:buClr>
              <a:defRPr/>
            </a:pPr>
            <a:endParaRPr lang="de-DE" sz="1600" b="1" kern="0" dirty="0" smtClean="0">
              <a:solidFill>
                <a:sysClr val="windowText" lastClr="000000"/>
              </a:solidFill>
            </a:endParaRPr>
          </a:p>
        </p:txBody>
      </p:sp>
      <p:sp>
        <p:nvSpPr>
          <p:cNvPr id="16" name="Rectangle 15"/>
          <p:cNvSpPr>
            <a:spLocks/>
          </p:cNvSpPr>
          <p:nvPr/>
        </p:nvSpPr>
        <p:spPr bwMode="gray">
          <a:xfrm>
            <a:off x="3268203" y="5482875"/>
            <a:ext cx="5310643" cy="460155"/>
          </a:xfrm>
          <a:prstGeom prst="rect">
            <a:avLst/>
          </a:prstGeom>
          <a:solidFill>
            <a:sysClr val="window" lastClr="FFFFFF">
              <a:lumMod val="85000"/>
            </a:sysClr>
          </a:solidFill>
          <a:effectLst/>
        </p:spPr>
        <p:txBody>
          <a:bodyPr wrap="square" lIns="274320" anchor="ctr">
            <a:noAutofit/>
          </a:bodyPr>
          <a:lstStyle/>
          <a:p>
            <a:pPr marL="285750" indent="-285750" defTabSz="914400" eaLnBrk="0" hangingPunct="0">
              <a:spcBef>
                <a:spcPts val="200"/>
              </a:spcBef>
              <a:spcAft>
                <a:spcPts val="200"/>
              </a:spcAft>
              <a:buClr>
                <a:srgbClr val="0078A9"/>
              </a:buClr>
              <a:buFont typeface="Arial" pitchFamily="34" charset="0"/>
              <a:buChar char="•"/>
              <a:defRPr/>
            </a:pPr>
            <a:r>
              <a:rPr lang="de-DE" sz="1600" kern="0" dirty="0" smtClean="0">
                <a:solidFill>
                  <a:sysClr val="windowText" lastClr="000000"/>
                </a:solidFill>
                <a:ea typeface="Calibri" pitchFamily="34" charset="0"/>
              </a:rPr>
              <a:t>UTL_FILE and shell scripting</a:t>
            </a:r>
            <a:endParaRPr lang="de-DE" sz="1600" kern="0" dirty="0">
              <a:solidFill>
                <a:sysClr val="windowText" lastClr="000000"/>
              </a:solidFill>
              <a:ea typeface="Calibri" pitchFamily="34" charset="0"/>
            </a:endParaRPr>
          </a:p>
        </p:txBody>
      </p:sp>
      <p:sp>
        <p:nvSpPr>
          <p:cNvPr id="20" name="AutoShape 8"/>
          <p:cNvSpPr>
            <a:spLocks noChangeArrowheads="1"/>
          </p:cNvSpPr>
          <p:nvPr>
            <p:custDataLst>
              <p:tags r:id="rId7"/>
            </p:custDataLst>
          </p:nvPr>
        </p:nvSpPr>
        <p:spPr bwMode="gray">
          <a:xfrm>
            <a:off x="1227137" y="4874799"/>
            <a:ext cx="2597239" cy="460156"/>
          </a:xfrm>
          <a:prstGeom prst="rect">
            <a:avLst/>
          </a:prstGeom>
          <a:solidFill>
            <a:srgbClr val="4F81BD"/>
          </a:solidFill>
          <a:ln w="9525" cap="flat" cmpd="sng" algn="ctr">
            <a:noFill/>
            <a:prstDash val="solid"/>
          </a:ln>
          <a:effectLst/>
        </p:spPr>
        <p:txBody>
          <a:bodyPr lIns="548640" rtlCol="0" anchor="ctr" anchorCtr="0"/>
          <a:lstStyle/>
          <a:p>
            <a:pPr marL="0" lvl="2" indent="3175" defTabSz="914400">
              <a:spcBef>
                <a:spcPct val="40000"/>
              </a:spcBef>
              <a:spcAft>
                <a:spcPts val="400"/>
              </a:spcAft>
              <a:buClr>
                <a:srgbClr val="1F497D"/>
              </a:buClr>
              <a:defRPr/>
            </a:pPr>
            <a:endParaRPr lang="de-DE" sz="1600" b="1" kern="0" dirty="0" smtClean="0">
              <a:solidFill>
                <a:sysClr val="windowText" lastClr="000000"/>
              </a:solidFill>
            </a:endParaRPr>
          </a:p>
        </p:txBody>
      </p:sp>
      <p:sp>
        <p:nvSpPr>
          <p:cNvPr id="27" name="Rectangle 26"/>
          <p:cNvSpPr>
            <a:spLocks/>
          </p:cNvSpPr>
          <p:nvPr/>
        </p:nvSpPr>
        <p:spPr bwMode="gray">
          <a:xfrm>
            <a:off x="3268203" y="4873064"/>
            <a:ext cx="5310643" cy="460155"/>
          </a:xfrm>
          <a:prstGeom prst="rect">
            <a:avLst/>
          </a:prstGeom>
          <a:solidFill>
            <a:sysClr val="window" lastClr="FFFFFF">
              <a:lumMod val="85000"/>
            </a:sysClr>
          </a:solidFill>
          <a:effectLst/>
        </p:spPr>
        <p:txBody>
          <a:bodyPr wrap="square" lIns="274320" anchor="ctr">
            <a:noAutofit/>
          </a:bodyPr>
          <a:lstStyle/>
          <a:p>
            <a:pPr marL="285750" indent="-285750" defTabSz="914400" eaLnBrk="0" hangingPunct="0">
              <a:spcBef>
                <a:spcPts val="200"/>
              </a:spcBef>
              <a:spcAft>
                <a:spcPts val="200"/>
              </a:spcAft>
              <a:buClr>
                <a:srgbClr val="0078A9"/>
              </a:buClr>
              <a:buFont typeface="Arial" pitchFamily="34" charset="0"/>
              <a:buChar char="•"/>
              <a:defRPr/>
            </a:pPr>
            <a:r>
              <a:rPr lang="de-DE" sz="1600" kern="0" dirty="0" smtClean="0">
                <a:solidFill>
                  <a:sysClr val="windowText" lastClr="000000"/>
                </a:solidFill>
                <a:ea typeface="Calibri" pitchFamily="34" charset="0"/>
              </a:rPr>
              <a:t>Exception Propogation</a:t>
            </a:r>
            <a:endParaRPr lang="de-DE" sz="1600" kern="0" dirty="0">
              <a:solidFill>
                <a:sysClr val="windowText" lastClr="000000"/>
              </a:solidFill>
              <a:ea typeface="Calibri" pitchFamily="34" charset="0"/>
            </a:endParaRPr>
          </a:p>
        </p:txBody>
      </p:sp>
      <p:pic>
        <p:nvPicPr>
          <p:cNvPr id="31" name="Picture 7"/>
          <p:cNvPicPr>
            <a:picLocks noChangeAspect="1" noChangeArrowheads="1"/>
          </p:cNvPicPr>
          <p:nvPr/>
        </p:nvPicPr>
        <p:blipFill>
          <a:blip r:embed="rId9" cstate="print"/>
          <a:srcRect l="37358" t="10678" b="10386"/>
          <a:stretch>
            <a:fillRect/>
          </a:stretch>
        </p:blipFill>
        <p:spPr bwMode="gray">
          <a:xfrm>
            <a:off x="2" y="1541728"/>
            <a:ext cx="2943393" cy="4411663"/>
          </a:xfrm>
          <a:prstGeom prst="rect">
            <a:avLst/>
          </a:prstGeom>
          <a:noFill/>
          <a:ln w="9525">
            <a:noFill/>
            <a:miter lim="800000"/>
            <a:headEnd/>
            <a:tailEnd/>
          </a:ln>
          <a:effectLst/>
        </p:spPr>
      </p:pic>
    </p:spTree>
    <p:extLst>
      <p:ext uri="{BB962C8B-B14F-4D97-AF65-F5344CB8AC3E}">
        <p14:creationId xmlns:p14="http://schemas.microsoft.com/office/powerpoint/2010/main" val="1846299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4"/>
          <p:cNvSpPr>
            <a:spLocks noGrp="1"/>
          </p:cNvSpPr>
          <p:nvPr>
            <p:ph type="title"/>
          </p:nvPr>
        </p:nvSpPr>
        <p:spPr>
          <a:xfrm>
            <a:off x="557784" y="-100584"/>
            <a:ext cx="9144000" cy="1187450"/>
          </a:xfrm>
        </p:spPr>
        <p:txBody>
          <a:bodyPr/>
          <a:lstStyle/>
          <a:p>
            <a:pPr eaLnBrk="1" hangingPunct="1"/>
            <a:r>
              <a:rPr altLang="en-US" dirty="0" smtClean="0">
                <a:solidFill>
                  <a:schemeClr val="tx1"/>
                </a:solidFill>
              </a:rPr>
              <a:t>Procedures</a:t>
            </a:r>
          </a:p>
        </p:txBody>
      </p:sp>
      <p:sp>
        <p:nvSpPr>
          <p:cNvPr id="35" name="Content Placeholder 5"/>
          <p:cNvSpPr>
            <a:spLocks noGrp="1"/>
          </p:cNvSpPr>
          <p:nvPr>
            <p:ph idx="1"/>
          </p:nvPr>
        </p:nvSpPr>
        <p:spPr>
          <a:xfrm>
            <a:off x="557784" y="1210753"/>
            <a:ext cx="8845550" cy="4643438"/>
          </a:xfrm>
        </p:spPr>
        <p:txBody>
          <a:bodyPr/>
          <a:lstStyle/>
          <a:p>
            <a:pPr eaLnBrk="1" hangingPunct="1"/>
            <a:r>
              <a:rPr lang="en-GB" altLang="en-US" dirty="0" smtClean="0"/>
              <a:t>Procedures are named PL/SQL blocks. </a:t>
            </a:r>
          </a:p>
          <a:p>
            <a:pPr>
              <a:lnSpc>
                <a:spcPct val="80000"/>
              </a:lnSpc>
              <a:buFontTx/>
              <a:buNone/>
            </a:pPr>
            <a:endParaRPr lang="en-GB" altLang="en-US" sz="1400" dirty="0" smtClean="0">
              <a:latin typeface="Courier New" panose="02070309020205020404" pitchFamily="49" charset="0"/>
            </a:endParaRPr>
          </a:p>
          <a:p>
            <a:pPr>
              <a:lnSpc>
                <a:spcPct val="80000"/>
              </a:lnSpc>
              <a:buFontTx/>
              <a:buNone/>
            </a:pPr>
            <a:endParaRPr lang="en-GB" altLang="en-US" sz="1400" dirty="0" smtClean="0">
              <a:latin typeface="Courier New" panose="02070309020205020404" pitchFamily="49" charset="0"/>
            </a:endParaRPr>
          </a:p>
          <a:p>
            <a:pPr>
              <a:lnSpc>
                <a:spcPct val="80000"/>
              </a:lnSpc>
              <a:buFontTx/>
              <a:buNone/>
            </a:pPr>
            <a:r>
              <a:rPr lang="en-GB" altLang="en-US" sz="1400" dirty="0" smtClean="0">
                <a:latin typeface="Courier New" panose="02070309020205020404" pitchFamily="49" charset="0"/>
              </a:rPr>
              <a:t>CREATE [OR REPLACE] PROCEDURE &lt;</a:t>
            </a:r>
            <a:r>
              <a:rPr lang="en-GB" altLang="en-US" sz="1400" dirty="0" err="1" smtClean="0">
                <a:latin typeface="Courier New" panose="02070309020205020404" pitchFamily="49" charset="0"/>
              </a:rPr>
              <a:t>procedure_name</a:t>
            </a:r>
            <a:r>
              <a:rPr lang="en-GB" altLang="en-US" sz="1400" dirty="0" smtClean="0">
                <a:latin typeface="Courier New" panose="02070309020205020404" pitchFamily="49" charset="0"/>
              </a:rPr>
              <a:t>&gt; (&lt;parameter1_name&gt; &lt;mode&gt; &lt;data type&gt;, &lt;parameter2_name&gt; &lt;mode&gt; &lt;data type&gt;, ...) {AS|IS}</a:t>
            </a:r>
          </a:p>
          <a:p>
            <a:pPr>
              <a:lnSpc>
                <a:spcPct val="80000"/>
              </a:lnSpc>
              <a:buFontTx/>
              <a:buNone/>
            </a:pPr>
            <a:r>
              <a:rPr lang="en-GB" altLang="en-US" sz="1400" dirty="0" smtClean="0">
                <a:latin typeface="Courier New" panose="02070309020205020404" pitchFamily="49" charset="0"/>
              </a:rPr>
              <a:t>    &lt;Variable declarations&gt;</a:t>
            </a:r>
          </a:p>
          <a:p>
            <a:pPr>
              <a:lnSpc>
                <a:spcPct val="80000"/>
              </a:lnSpc>
              <a:buFontTx/>
              <a:buNone/>
            </a:pPr>
            <a:r>
              <a:rPr lang="en-GB" altLang="en-US" sz="1400" dirty="0" smtClean="0">
                <a:latin typeface="Courier New" panose="02070309020205020404" pitchFamily="49" charset="0"/>
              </a:rPr>
              <a:t>BEGIN</a:t>
            </a:r>
          </a:p>
          <a:p>
            <a:pPr>
              <a:lnSpc>
                <a:spcPct val="80000"/>
              </a:lnSpc>
              <a:buFontTx/>
              <a:buNone/>
            </a:pPr>
            <a:r>
              <a:rPr lang="en-GB" altLang="en-US" sz="1400" dirty="0" smtClean="0">
                <a:latin typeface="Courier New" panose="02070309020205020404" pitchFamily="49" charset="0"/>
              </a:rPr>
              <a:t>    Executable statements</a:t>
            </a:r>
          </a:p>
          <a:p>
            <a:pPr>
              <a:lnSpc>
                <a:spcPct val="80000"/>
              </a:lnSpc>
              <a:buFontTx/>
              <a:buNone/>
            </a:pPr>
            <a:r>
              <a:rPr lang="en-GB" altLang="en-US" sz="1400" dirty="0" smtClean="0">
                <a:latin typeface="Courier New" panose="02070309020205020404" pitchFamily="49" charset="0"/>
              </a:rPr>
              <a:t>[EXCEPTION</a:t>
            </a:r>
          </a:p>
          <a:p>
            <a:pPr>
              <a:lnSpc>
                <a:spcPct val="80000"/>
              </a:lnSpc>
              <a:buFontTx/>
              <a:buNone/>
            </a:pPr>
            <a:r>
              <a:rPr lang="en-GB" altLang="en-US" sz="1400" dirty="0" smtClean="0">
                <a:latin typeface="Courier New" panose="02070309020205020404" pitchFamily="49" charset="0"/>
              </a:rPr>
              <a:t>    Exception handlers]</a:t>
            </a:r>
          </a:p>
          <a:p>
            <a:pPr>
              <a:lnSpc>
                <a:spcPct val="80000"/>
              </a:lnSpc>
              <a:buFontTx/>
              <a:buNone/>
            </a:pPr>
            <a:r>
              <a:rPr lang="en-GB" altLang="en-US" sz="1400" dirty="0" smtClean="0">
                <a:latin typeface="Courier New" panose="02070309020205020404" pitchFamily="49" charset="0"/>
              </a:rPr>
              <a:t>END &lt;optional procedure name&gt;;</a:t>
            </a:r>
          </a:p>
          <a:p>
            <a:pPr>
              <a:lnSpc>
                <a:spcPct val="80000"/>
              </a:lnSpc>
              <a:buFont typeface="Wingdings" panose="05000000000000000000" pitchFamily="2" charset="2"/>
              <a:buNone/>
            </a:pPr>
            <a:endParaRPr lang="en-US" altLang="en-US" sz="1400" dirty="0" smtClean="0"/>
          </a:p>
          <a:p>
            <a:pPr>
              <a:lnSpc>
                <a:spcPct val="80000"/>
              </a:lnSpc>
            </a:pPr>
            <a:r>
              <a:rPr lang="en-US" altLang="en-US" dirty="0" smtClean="0"/>
              <a:t>Unique procedure name is required.</a:t>
            </a:r>
          </a:p>
          <a:p>
            <a:pPr>
              <a:lnSpc>
                <a:spcPct val="80000"/>
              </a:lnSpc>
            </a:pPr>
            <a:r>
              <a:rPr lang="en-US" altLang="en-US" dirty="0" smtClean="0"/>
              <a:t>OR REPLACE clause facilitates testing.</a:t>
            </a:r>
          </a:p>
          <a:p>
            <a:pPr>
              <a:lnSpc>
                <a:spcPct val="80000"/>
              </a:lnSpc>
            </a:pPr>
            <a:r>
              <a:rPr lang="en-US" altLang="en-US" dirty="0" smtClean="0"/>
              <a:t>Parameters are optional – enclosed in parenthesis when used.</a:t>
            </a:r>
          </a:p>
          <a:p>
            <a:pPr>
              <a:lnSpc>
                <a:spcPct val="80000"/>
              </a:lnSpc>
            </a:pPr>
            <a:r>
              <a:rPr lang="en-US" altLang="en-US" dirty="0" smtClean="0"/>
              <a:t>AS or IS keyword is used – both work identically.</a:t>
            </a:r>
          </a:p>
          <a:p>
            <a:pPr>
              <a:lnSpc>
                <a:spcPct val="80000"/>
              </a:lnSpc>
            </a:pPr>
            <a:r>
              <a:rPr lang="en-US" altLang="en-US" dirty="0" smtClean="0"/>
              <a:t>Procedure variables are declared prior to the BEGIN keyword.</a:t>
            </a:r>
          </a:p>
          <a:p>
            <a:pPr>
              <a:lnSpc>
                <a:spcPct val="80000"/>
              </a:lnSpc>
            </a:pPr>
            <a:r>
              <a:rPr lang="en-US" altLang="en-US" dirty="0" smtClean="0"/>
              <a:t>DECLARE keyword is NOT used in named procedure.</a:t>
            </a:r>
          </a:p>
          <a:p>
            <a:pPr eaLnBrk="1" hangingPunct="1"/>
            <a:endParaRPr lang="en-US" altLang="en-US" dirty="0" smtClean="0"/>
          </a:p>
        </p:txBody>
      </p:sp>
    </p:spTree>
    <p:extLst>
      <p:ext uri="{BB962C8B-B14F-4D97-AF65-F5344CB8AC3E}">
        <p14:creationId xmlns:p14="http://schemas.microsoft.com/office/powerpoint/2010/main" val="256671733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1"/>
          <p:cNvSpPr>
            <a:spLocks noChangeArrowheads="1"/>
          </p:cNvSpPr>
          <p:nvPr/>
        </p:nvSpPr>
        <p:spPr bwMode="auto">
          <a:xfrm>
            <a:off x="1333500" y="1676400"/>
            <a:ext cx="6019800" cy="391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lnSpc>
                <a:spcPct val="90000"/>
              </a:lnSpc>
              <a:spcBef>
                <a:spcPct val="0"/>
              </a:spcBef>
              <a:buClrTx/>
              <a:buFont typeface="Arial" panose="020B0604020202020204" pitchFamily="34" charset="0"/>
              <a:buChar char="•"/>
            </a:pPr>
            <a:endParaRPr lang="fr-FR" altLang="en-US" b="1" dirty="0">
              <a:solidFill>
                <a:srgbClr val="00B0F0"/>
              </a:solidFill>
            </a:endParaRPr>
          </a:p>
          <a:p>
            <a:pPr eaLnBrk="1" hangingPunct="1">
              <a:lnSpc>
                <a:spcPct val="90000"/>
              </a:lnSpc>
              <a:spcBef>
                <a:spcPct val="0"/>
              </a:spcBef>
              <a:buClrTx/>
              <a:buFont typeface="Arial" panose="020B0604020202020204" pitchFamily="34" charset="0"/>
              <a:buChar char="•"/>
            </a:pPr>
            <a:r>
              <a:rPr lang="fr-FR" altLang="en-US" sz="1800" b="1" dirty="0">
                <a:solidFill>
                  <a:srgbClr val="00B0F0"/>
                </a:solidFill>
              </a:rPr>
              <a:t> IN</a:t>
            </a:r>
            <a:r>
              <a:rPr lang="fr-FR" altLang="en-US" sz="1800" dirty="0">
                <a:solidFill>
                  <a:srgbClr val="00B0F0"/>
                </a:solidFill>
              </a:rPr>
              <a:t> </a:t>
            </a:r>
            <a:r>
              <a:rPr lang="fr-FR" altLang="en-US" sz="1800" dirty="0"/>
              <a:t>– This </a:t>
            </a:r>
            <a:r>
              <a:rPr lang="en-GB" altLang="en-US" sz="1800" dirty="0"/>
              <a:t>parameter type is passed to a procedure as a read-only value that cannot be changed within the procedure – this is the default mode.</a:t>
            </a:r>
          </a:p>
          <a:p>
            <a:pPr eaLnBrk="1" hangingPunct="1">
              <a:lnSpc>
                <a:spcPct val="90000"/>
              </a:lnSpc>
              <a:spcBef>
                <a:spcPct val="0"/>
              </a:spcBef>
              <a:buClrTx/>
              <a:buFont typeface="Arial" panose="020B0604020202020204" pitchFamily="34" charset="0"/>
              <a:buChar char="•"/>
            </a:pPr>
            <a:endParaRPr lang="en-GB" altLang="en-US" sz="1800" dirty="0"/>
          </a:p>
          <a:p>
            <a:pPr eaLnBrk="1" hangingPunct="1">
              <a:lnSpc>
                <a:spcPct val="90000"/>
              </a:lnSpc>
              <a:spcBef>
                <a:spcPct val="0"/>
              </a:spcBef>
              <a:buClrTx/>
              <a:buFont typeface="Arial" panose="020B0604020202020204" pitchFamily="34" charset="0"/>
              <a:buChar char="•"/>
            </a:pPr>
            <a:r>
              <a:rPr lang="en-GB" altLang="en-US" sz="1800" b="1" dirty="0">
                <a:solidFill>
                  <a:srgbClr val="00B0F0"/>
                </a:solidFill>
              </a:rPr>
              <a:t> OUT </a:t>
            </a:r>
            <a:r>
              <a:rPr lang="en-GB" altLang="en-US" sz="1800" dirty="0"/>
              <a:t>– This parameter type is write-only, and can only appear on the left side of an assignment statement in the procedure – it is assigned an initial value of NULL.</a:t>
            </a:r>
          </a:p>
          <a:p>
            <a:pPr eaLnBrk="1" hangingPunct="1">
              <a:lnSpc>
                <a:spcPct val="90000"/>
              </a:lnSpc>
              <a:spcBef>
                <a:spcPct val="0"/>
              </a:spcBef>
              <a:buClrTx/>
              <a:buFontTx/>
              <a:buNone/>
            </a:pPr>
            <a:endParaRPr lang="en-GB" altLang="en-US" sz="1800" dirty="0"/>
          </a:p>
          <a:p>
            <a:pPr eaLnBrk="1" hangingPunct="1">
              <a:lnSpc>
                <a:spcPct val="90000"/>
              </a:lnSpc>
              <a:spcBef>
                <a:spcPct val="0"/>
              </a:spcBef>
              <a:buClrTx/>
              <a:buFont typeface="Arial" panose="020B0604020202020204" pitchFamily="34" charset="0"/>
              <a:buChar char="•"/>
            </a:pPr>
            <a:r>
              <a:rPr lang="en-GB" altLang="en-US" sz="1800" b="1" dirty="0">
                <a:solidFill>
                  <a:srgbClr val="00B0F0"/>
                </a:solidFill>
              </a:rPr>
              <a:t> IN OUT </a:t>
            </a:r>
            <a:r>
              <a:rPr lang="en-GB" altLang="en-US" sz="1800" dirty="0"/>
              <a:t>– This parameter type combines both IN and OUT; a parameter of this mode is passed to a procedure, and its value can be changed within the procedure.</a:t>
            </a:r>
          </a:p>
          <a:p>
            <a:pPr eaLnBrk="1" hangingPunct="1">
              <a:lnSpc>
                <a:spcPct val="90000"/>
              </a:lnSpc>
              <a:spcBef>
                <a:spcPct val="0"/>
              </a:spcBef>
              <a:buClrTx/>
              <a:buFontTx/>
              <a:buNone/>
            </a:pPr>
            <a:r>
              <a:rPr lang="en-GB" altLang="en-US" sz="2000" dirty="0"/>
              <a:t>If a procedure raises an exception, the formal parameter values are not copied back to their corresponding actual parameters.</a:t>
            </a:r>
            <a:endParaRPr lang="en-US" altLang="en-US" sz="2000" dirty="0"/>
          </a:p>
        </p:txBody>
      </p:sp>
      <p:sp>
        <p:nvSpPr>
          <p:cNvPr id="55" name="Rectangle 2"/>
          <p:cNvSpPr>
            <a:spLocks noChangeArrowheads="1"/>
          </p:cNvSpPr>
          <p:nvPr/>
        </p:nvSpPr>
        <p:spPr bwMode="auto">
          <a:xfrm>
            <a:off x="1285336" y="0"/>
            <a:ext cx="6464779"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3200" dirty="0" smtClean="0"/>
              <a:t>Defining </a:t>
            </a:r>
            <a:r>
              <a:rPr lang="en-US" altLang="en-US" sz="3200" dirty="0"/>
              <a:t>the IN, OUT, and </a:t>
            </a:r>
            <a:r>
              <a:rPr lang="en-US" altLang="en-US" sz="3200" dirty="0" smtClean="0"/>
              <a:t>IN OUT  Parameter Modes</a:t>
            </a:r>
            <a:endParaRPr lang="en-US" altLang="en-US" sz="3200" dirty="0"/>
          </a:p>
        </p:txBody>
      </p:sp>
    </p:spTree>
    <p:extLst>
      <p:ext uri="{BB962C8B-B14F-4D97-AF65-F5344CB8AC3E}">
        <p14:creationId xmlns:p14="http://schemas.microsoft.com/office/powerpoint/2010/main" val="124004572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5"/>
          <p:cNvSpPr>
            <a:spLocks noGrp="1"/>
          </p:cNvSpPr>
          <p:nvPr>
            <p:ph idx="4294967295"/>
          </p:nvPr>
        </p:nvSpPr>
        <p:spPr>
          <a:xfrm>
            <a:off x="481013" y="1292225"/>
            <a:ext cx="8662987" cy="4956175"/>
          </a:xfrm>
        </p:spPr>
        <p:txBody>
          <a:bodyPr/>
          <a:lstStyle/>
          <a:p>
            <a:pPr lvl="1">
              <a:lnSpc>
                <a:spcPct val="80000"/>
              </a:lnSpc>
              <a:buFontTx/>
              <a:buNone/>
            </a:pPr>
            <a:endParaRPr lang="en-GB" altLang="en-US" sz="1800" dirty="0" smtClean="0">
              <a:latin typeface="Courier New" panose="02070309020205020404" pitchFamily="49" charset="0"/>
            </a:endParaRPr>
          </a:p>
          <a:p>
            <a:pPr lvl="1">
              <a:lnSpc>
                <a:spcPct val="80000"/>
              </a:lnSpc>
              <a:buFontTx/>
              <a:buNone/>
            </a:pPr>
            <a:r>
              <a:rPr lang="en-GB" altLang="en-US" sz="1400" dirty="0" smtClean="0">
                <a:latin typeface="Courier New" panose="02070309020205020404" pitchFamily="49" charset="0"/>
              </a:rPr>
              <a:t>CREATE [OR REPLACE] FUNCTION &lt;function_name&gt; (&lt;parameter1_name&gt; &lt;mode&gt; &lt;data type&gt;, </a:t>
            </a:r>
          </a:p>
          <a:p>
            <a:pPr lvl="1">
              <a:lnSpc>
                <a:spcPct val="80000"/>
              </a:lnSpc>
              <a:buFontTx/>
              <a:buNone/>
            </a:pPr>
            <a:r>
              <a:rPr lang="en-GB" altLang="en-US" sz="1400" dirty="0" smtClean="0">
                <a:latin typeface="Courier New" panose="02070309020205020404" pitchFamily="49" charset="0"/>
              </a:rPr>
              <a:t>   &lt;parameter2_name&gt; &lt;mode&gt; &lt;data type&gt;, ...) </a:t>
            </a:r>
          </a:p>
          <a:p>
            <a:pPr lvl="1">
              <a:lnSpc>
                <a:spcPct val="80000"/>
              </a:lnSpc>
              <a:buFontTx/>
              <a:buNone/>
            </a:pPr>
            <a:r>
              <a:rPr lang="en-GB" altLang="en-US" sz="1400" dirty="0" smtClean="0">
                <a:latin typeface="Courier New" panose="02070309020205020404" pitchFamily="49" charset="0"/>
              </a:rPr>
              <a:t>RETURN &lt;function return value data type&gt; {AS|IS}</a:t>
            </a:r>
          </a:p>
          <a:p>
            <a:pPr lvl="1">
              <a:lnSpc>
                <a:spcPct val="80000"/>
              </a:lnSpc>
              <a:buFontTx/>
              <a:buNone/>
            </a:pPr>
            <a:r>
              <a:rPr lang="en-GB" altLang="en-US" sz="1400" dirty="0" smtClean="0">
                <a:latin typeface="Courier New" panose="02070309020205020404" pitchFamily="49" charset="0"/>
              </a:rPr>
              <a:t>    &lt;Variable declarations&gt;</a:t>
            </a:r>
          </a:p>
          <a:p>
            <a:pPr lvl="1">
              <a:lnSpc>
                <a:spcPct val="80000"/>
              </a:lnSpc>
              <a:buFontTx/>
              <a:buNone/>
            </a:pPr>
            <a:r>
              <a:rPr lang="en-GB" altLang="en-US" sz="1400" dirty="0" smtClean="0">
                <a:latin typeface="Courier New" panose="02070309020205020404" pitchFamily="49" charset="0"/>
              </a:rPr>
              <a:t>BEGIN</a:t>
            </a:r>
          </a:p>
          <a:p>
            <a:pPr lvl="1">
              <a:lnSpc>
                <a:spcPct val="80000"/>
              </a:lnSpc>
              <a:buFontTx/>
              <a:buNone/>
            </a:pPr>
            <a:r>
              <a:rPr lang="en-GB" altLang="en-US" sz="1400" dirty="0" smtClean="0">
                <a:latin typeface="Courier New" panose="02070309020205020404" pitchFamily="49" charset="0"/>
              </a:rPr>
              <a:t>    Executable Commands</a:t>
            </a:r>
          </a:p>
          <a:p>
            <a:pPr lvl="1">
              <a:lnSpc>
                <a:spcPct val="80000"/>
              </a:lnSpc>
              <a:buFontTx/>
              <a:buNone/>
            </a:pPr>
            <a:r>
              <a:rPr lang="en-GB" altLang="en-US" sz="1400" dirty="0" smtClean="0">
                <a:latin typeface="Courier New" panose="02070309020205020404" pitchFamily="49" charset="0"/>
              </a:rPr>
              <a:t>    RETURN (return_value);</a:t>
            </a:r>
          </a:p>
          <a:p>
            <a:pPr lvl="1">
              <a:lnSpc>
                <a:spcPct val="80000"/>
              </a:lnSpc>
              <a:buFontTx/>
              <a:buNone/>
            </a:pPr>
            <a:r>
              <a:rPr lang="en-GB" altLang="en-US" sz="1400" dirty="0" smtClean="0">
                <a:latin typeface="Courier New" panose="02070309020205020404" pitchFamily="49" charset="0"/>
              </a:rPr>
              <a:t>    . . .</a:t>
            </a:r>
          </a:p>
          <a:p>
            <a:pPr lvl="1">
              <a:lnSpc>
                <a:spcPct val="80000"/>
              </a:lnSpc>
              <a:buFontTx/>
              <a:buNone/>
            </a:pPr>
            <a:r>
              <a:rPr lang="en-GB" altLang="en-US" sz="1400" dirty="0" smtClean="0">
                <a:latin typeface="Courier New" panose="02070309020205020404" pitchFamily="49" charset="0"/>
              </a:rPr>
              <a:t>[EXCEPTION</a:t>
            </a:r>
          </a:p>
          <a:p>
            <a:pPr lvl="1">
              <a:lnSpc>
                <a:spcPct val="80000"/>
              </a:lnSpc>
              <a:buFontTx/>
              <a:buNone/>
            </a:pPr>
            <a:r>
              <a:rPr lang="en-GB" altLang="en-US" sz="1400" dirty="0" smtClean="0">
                <a:latin typeface="Courier New" panose="02070309020205020404" pitchFamily="49" charset="0"/>
              </a:rPr>
              <a:t>    Exception handlers]</a:t>
            </a:r>
          </a:p>
          <a:p>
            <a:pPr lvl="1">
              <a:lnSpc>
                <a:spcPct val="80000"/>
              </a:lnSpc>
              <a:buFontTx/>
              <a:buNone/>
            </a:pPr>
            <a:r>
              <a:rPr lang="en-GB" altLang="en-US" sz="1400" dirty="0" smtClean="0">
                <a:latin typeface="Courier New" panose="02070309020205020404" pitchFamily="49" charset="0"/>
              </a:rPr>
              <a:t>END;</a:t>
            </a:r>
          </a:p>
          <a:p>
            <a:pPr lvl="1">
              <a:lnSpc>
                <a:spcPct val="80000"/>
              </a:lnSpc>
              <a:buFontTx/>
              <a:buNone/>
            </a:pPr>
            <a:endParaRPr lang="en-GB" altLang="en-US" sz="1400" dirty="0" smtClean="0">
              <a:latin typeface="Courier New" panose="02070309020205020404" pitchFamily="49" charset="0"/>
            </a:endParaRPr>
          </a:p>
          <a:p>
            <a:pPr eaLnBrk="1" hangingPunct="1"/>
            <a:r>
              <a:rPr lang="en-US" altLang="en-US" dirty="0" smtClean="0"/>
              <a:t>A stored </a:t>
            </a:r>
            <a:r>
              <a:rPr lang="en-US" altLang="en-US" b="1" dirty="0" smtClean="0"/>
              <a:t>function</a:t>
            </a:r>
            <a:r>
              <a:rPr lang="en-US" altLang="en-US" dirty="0" smtClean="0"/>
              <a:t> (also called a user </a:t>
            </a:r>
            <a:r>
              <a:rPr lang="en-US" altLang="en-US" b="1" dirty="0" smtClean="0"/>
              <a:t>function</a:t>
            </a:r>
            <a:r>
              <a:rPr lang="en-US" altLang="en-US" dirty="0" smtClean="0"/>
              <a:t> or user-defined </a:t>
            </a:r>
            <a:r>
              <a:rPr lang="en-US" altLang="en-US" b="1" dirty="0" smtClean="0"/>
              <a:t>function</a:t>
            </a:r>
            <a:r>
              <a:rPr lang="en-US" altLang="en-US" dirty="0" smtClean="0"/>
              <a:t>) is a set of </a:t>
            </a:r>
            <a:r>
              <a:rPr lang="en-US" altLang="en-US" b="1" dirty="0" smtClean="0"/>
              <a:t>PL/SQL</a:t>
            </a:r>
            <a:r>
              <a:rPr lang="en-US" altLang="en-US" dirty="0" smtClean="0"/>
              <a:t> statements you can call by name. Stored </a:t>
            </a:r>
            <a:r>
              <a:rPr lang="en-US" altLang="en-US" b="1" dirty="0" smtClean="0"/>
              <a:t>functions</a:t>
            </a:r>
            <a:r>
              <a:rPr lang="en-US" altLang="en-US" dirty="0" smtClean="0"/>
              <a:t> are very similar to procedures, except that a </a:t>
            </a:r>
            <a:r>
              <a:rPr lang="en-US" altLang="en-US" b="1" dirty="0" smtClean="0"/>
              <a:t>function</a:t>
            </a:r>
            <a:r>
              <a:rPr lang="en-US" altLang="en-US" dirty="0" smtClean="0"/>
              <a:t> returns a value to the environment in which it is called. User </a:t>
            </a:r>
            <a:r>
              <a:rPr lang="en-US" altLang="en-US" b="1" dirty="0" smtClean="0"/>
              <a:t>functions</a:t>
            </a:r>
            <a:r>
              <a:rPr lang="en-US" altLang="en-US" dirty="0" smtClean="0"/>
              <a:t> can be used as part of a SQL expression.</a:t>
            </a:r>
          </a:p>
        </p:txBody>
      </p:sp>
      <p:sp>
        <p:nvSpPr>
          <p:cNvPr id="10" name="Title 4"/>
          <p:cNvSpPr>
            <a:spLocks noGrp="1"/>
          </p:cNvSpPr>
          <p:nvPr>
            <p:ph type="title" idx="4294967295"/>
          </p:nvPr>
        </p:nvSpPr>
        <p:spPr>
          <a:xfrm>
            <a:off x="838200" y="152400"/>
            <a:ext cx="7564438" cy="669925"/>
          </a:xfrm>
        </p:spPr>
        <p:txBody>
          <a:bodyPr/>
          <a:lstStyle/>
          <a:p>
            <a:pPr eaLnBrk="1" hangingPunct="1"/>
            <a:r>
              <a:rPr altLang="en-US" dirty="0" smtClean="0">
                <a:solidFill>
                  <a:schemeClr val="tx1"/>
                </a:solidFill>
              </a:rPr>
              <a:t>Functions</a:t>
            </a:r>
          </a:p>
        </p:txBody>
      </p:sp>
    </p:spTree>
    <p:extLst>
      <p:ext uri="{BB962C8B-B14F-4D97-AF65-F5344CB8AC3E}">
        <p14:creationId xmlns:p14="http://schemas.microsoft.com/office/powerpoint/2010/main" val="131768822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5"/>
          <p:cNvSpPr>
            <a:spLocks noGrp="1"/>
          </p:cNvSpPr>
          <p:nvPr>
            <p:ph idx="4294967295"/>
          </p:nvPr>
        </p:nvSpPr>
        <p:spPr>
          <a:xfrm>
            <a:off x="526733" y="855345"/>
            <a:ext cx="8662987" cy="5096881"/>
          </a:xfrm>
        </p:spPr>
        <p:txBody>
          <a:bodyPr/>
          <a:lstStyle/>
          <a:p>
            <a:pPr marL="0" indent="0">
              <a:lnSpc>
                <a:spcPct val="90000"/>
              </a:lnSpc>
              <a:buNone/>
            </a:pPr>
            <a:endParaRPr lang="en-GB" altLang="en-US" dirty="0" smtClean="0"/>
          </a:p>
          <a:p>
            <a:pPr>
              <a:lnSpc>
                <a:spcPct val="90000"/>
              </a:lnSpc>
            </a:pPr>
            <a:endParaRPr lang="en-GB" altLang="en-US" dirty="0" smtClean="0"/>
          </a:p>
          <a:p>
            <a:pPr>
              <a:lnSpc>
                <a:spcPct val="90000"/>
              </a:lnSpc>
            </a:pPr>
            <a:r>
              <a:rPr lang="en-GB" altLang="en-US" dirty="0" smtClean="0"/>
              <a:t>A </a:t>
            </a:r>
            <a:r>
              <a:rPr lang="en-GB" altLang="en-US" i="1" dirty="0" smtClean="0">
                <a:solidFill>
                  <a:srgbClr val="00B0F0"/>
                </a:solidFill>
              </a:rPr>
              <a:t>package</a:t>
            </a:r>
            <a:r>
              <a:rPr lang="en-GB" altLang="en-US" dirty="0" smtClean="0"/>
              <a:t> is a collection of PL/SQL objects grouped together under one package name. </a:t>
            </a:r>
          </a:p>
          <a:p>
            <a:pPr>
              <a:lnSpc>
                <a:spcPct val="90000"/>
              </a:lnSpc>
            </a:pPr>
            <a:endParaRPr lang="en-GB" altLang="en-US" dirty="0" smtClean="0"/>
          </a:p>
          <a:p>
            <a:pPr>
              <a:lnSpc>
                <a:spcPct val="90000"/>
              </a:lnSpc>
            </a:pPr>
            <a:r>
              <a:rPr lang="en-GB" altLang="en-US" dirty="0" smtClean="0"/>
              <a:t>Packages provide a means to collect related procedures, functions, cursors, declarations, types, and variables into a single, named database object that is more flexible than the related database objects are by themselves.</a:t>
            </a:r>
          </a:p>
          <a:p>
            <a:pPr>
              <a:lnSpc>
                <a:spcPct val="90000"/>
              </a:lnSpc>
            </a:pPr>
            <a:endParaRPr lang="en-GB" altLang="en-US" dirty="0" smtClean="0"/>
          </a:p>
          <a:p>
            <a:pPr>
              <a:lnSpc>
                <a:spcPct val="90000"/>
              </a:lnSpc>
            </a:pPr>
            <a:r>
              <a:rPr lang="en-GB" altLang="en-US" dirty="0" smtClean="0"/>
              <a:t>Package variables – can be referenced in any procedure, function, (other object) defined within a package.</a:t>
            </a:r>
          </a:p>
          <a:p>
            <a:pPr>
              <a:lnSpc>
                <a:spcPct val="90000"/>
              </a:lnSpc>
            </a:pPr>
            <a:endParaRPr lang="en-GB" altLang="en-US" dirty="0" smtClean="0"/>
          </a:p>
          <a:p>
            <a:pPr>
              <a:lnSpc>
                <a:spcPct val="90000"/>
              </a:lnSpc>
            </a:pPr>
            <a:r>
              <a:rPr lang="en-GB" altLang="en-US" dirty="0" smtClean="0"/>
              <a:t>A package consists of a </a:t>
            </a:r>
            <a:r>
              <a:rPr lang="en-GB" altLang="en-US" dirty="0" smtClean="0">
                <a:solidFill>
                  <a:srgbClr val="00B0F0"/>
                </a:solidFill>
              </a:rPr>
              <a:t>package specification and a package body</a:t>
            </a:r>
            <a:endParaRPr lang="en-US" altLang="en-US" dirty="0" smtClean="0">
              <a:solidFill>
                <a:srgbClr val="00B0F0"/>
              </a:solidFill>
            </a:endParaRPr>
          </a:p>
          <a:p>
            <a:pPr lvl="1">
              <a:lnSpc>
                <a:spcPct val="80000"/>
              </a:lnSpc>
              <a:buFontTx/>
              <a:buNone/>
            </a:pPr>
            <a:endParaRPr lang="en-US" altLang="en-US" dirty="0" smtClean="0"/>
          </a:p>
        </p:txBody>
      </p:sp>
      <p:sp>
        <p:nvSpPr>
          <p:cNvPr id="12" name="Title 4"/>
          <p:cNvSpPr>
            <a:spLocks noGrp="1"/>
          </p:cNvSpPr>
          <p:nvPr>
            <p:ph type="title" idx="4294967295"/>
          </p:nvPr>
        </p:nvSpPr>
        <p:spPr>
          <a:xfrm>
            <a:off x="164592" y="185420"/>
            <a:ext cx="7564438" cy="669925"/>
          </a:xfrm>
        </p:spPr>
        <p:txBody>
          <a:bodyPr/>
          <a:lstStyle/>
          <a:p>
            <a:pPr eaLnBrk="1" hangingPunct="1"/>
            <a:r>
              <a:rPr altLang="en-US" dirty="0" smtClean="0">
                <a:solidFill>
                  <a:schemeClr val="tx1"/>
                </a:solidFill>
              </a:rPr>
              <a:t>Packages</a:t>
            </a:r>
          </a:p>
        </p:txBody>
      </p:sp>
    </p:spTree>
    <p:extLst>
      <p:ext uri="{BB962C8B-B14F-4D97-AF65-F5344CB8AC3E}">
        <p14:creationId xmlns:p14="http://schemas.microsoft.com/office/powerpoint/2010/main" val="139605333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5"/>
          <p:cNvSpPr>
            <a:spLocks noGrp="1"/>
          </p:cNvSpPr>
          <p:nvPr>
            <p:ph idx="4294967295"/>
          </p:nvPr>
        </p:nvSpPr>
        <p:spPr>
          <a:xfrm>
            <a:off x="481013" y="1292225"/>
            <a:ext cx="8662987" cy="4956175"/>
          </a:xfrm>
        </p:spPr>
        <p:txBody>
          <a:bodyPr/>
          <a:lstStyle/>
          <a:p>
            <a:pPr>
              <a:lnSpc>
                <a:spcPct val="90000"/>
              </a:lnSpc>
              <a:buFont typeface="Wingdings" panose="05000000000000000000" pitchFamily="2" charset="2"/>
              <a:buNone/>
            </a:pPr>
            <a:endParaRPr lang="en-GB" altLang="en-US" dirty="0" smtClean="0"/>
          </a:p>
          <a:p>
            <a:pPr lvl="1">
              <a:lnSpc>
                <a:spcPct val="80000"/>
              </a:lnSpc>
              <a:buFontTx/>
              <a:buNone/>
            </a:pPr>
            <a:r>
              <a:rPr lang="en-GB" altLang="en-US" dirty="0" smtClean="0">
                <a:latin typeface="Courier New" panose="02070309020205020404" pitchFamily="49" charset="0"/>
              </a:rPr>
              <a:t>CREATE [OR REPLACE PACKAGE[ &lt;package name&gt; {AS|IS}</a:t>
            </a:r>
          </a:p>
          <a:p>
            <a:pPr lvl="1">
              <a:lnSpc>
                <a:spcPct val="80000"/>
              </a:lnSpc>
              <a:buFontTx/>
              <a:buNone/>
            </a:pPr>
            <a:r>
              <a:rPr lang="en-GB" altLang="en-US" dirty="0" smtClean="0">
                <a:latin typeface="Courier New" panose="02070309020205020404" pitchFamily="49" charset="0"/>
              </a:rPr>
              <a:t>    &lt;variable declarations&gt;;</a:t>
            </a:r>
          </a:p>
          <a:p>
            <a:pPr lvl="1">
              <a:lnSpc>
                <a:spcPct val="80000"/>
              </a:lnSpc>
              <a:buFontTx/>
              <a:buNone/>
            </a:pPr>
            <a:r>
              <a:rPr lang="en-GB" altLang="en-US" dirty="0" smtClean="0">
                <a:latin typeface="Courier New" panose="02070309020205020404" pitchFamily="49" charset="0"/>
              </a:rPr>
              <a:t>    &lt;cursor declarations&gt;;</a:t>
            </a:r>
          </a:p>
          <a:p>
            <a:pPr lvl="1">
              <a:lnSpc>
                <a:spcPct val="80000"/>
              </a:lnSpc>
              <a:buFontTx/>
              <a:buNone/>
            </a:pPr>
            <a:r>
              <a:rPr lang="en-GB" altLang="en-US" dirty="0" smtClean="0">
                <a:latin typeface="Courier New" panose="02070309020205020404" pitchFamily="49" charset="0"/>
              </a:rPr>
              <a:t>    &lt;procedure and function declarations&gt;;</a:t>
            </a:r>
          </a:p>
          <a:p>
            <a:pPr lvl="1">
              <a:lnSpc>
                <a:spcPct val="80000"/>
              </a:lnSpc>
              <a:buFontTx/>
              <a:buNone/>
            </a:pPr>
            <a:r>
              <a:rPr lang="en-GB" altLang="en-US" dirty="0" smtClean="0">
                <a:latin typeface="Courier New" panose="02070309020205020404" pitchFamily="49" charset="0"/>
              </a:rPr>
              <a:t>END &lt;package name&gt;;</a:t>
            </a:r>
          </a:p>
          <a:p>
            <a:pPr lvl="1">
              <a:lnSpc>
                <a:spcPct val="80000"/>
              </a:lnSpc>
              <a:buFontTx/>
              <a:buNone/>
            </a:pPr>
            <a:endParaRPr lang="en-GB" altLang="en-US" dirty="0" smtClean="0">
              <a:latin typeface="Courier New" panose="02070309020205020404" pitchFamily="49" charset="0"/>
            </a:endParaRPr>
          </a:p>
          <a:p>
            <a:pPr lvl="1">
              <a:lnSpc>
                <a:spcPct val="80000"/>
              </a:lnSpc>
              <a:buFontTx/>
              <a:buNone/>
            </a:pPr>
            <a:endParaRPr lang="en-GB" altLang="en-US" dirty="0" smtClean="0">
              <a:latin typeface="Courier New" panose="02070309020205020404" pitchFamily="49" charset="0"/>
            </a:endParaRPr>
          </a:p>
          <a:p>
            <a:pPr lvl="1">
              <a:lnSpc>
                <a:spcPct val="90000"/>
              </a:lnSpc>
            </a:pPr>
            <a:r>
              <a:rPr lang="en-GB" altLang="en-US" sz="2000" dirty="0" smtClean="0"/>
              <a:t>The </a:t>
            </a:r>
            <a:r>
              <a:rPr lang="en-GB" altLang="en-US" sz="2000" i="1" dirty="0" smtClean="0"/>
              <a:t>package specification</a:t>
            </a:r>
            <a:r>
              <a:rPr lang="en-GB" altLang="en-US" sz="2000" dirty="0" smtClean="0"/>
              <a:t>, also called the package header.</a:t>
            </a:r>
          </a:p>
          <a:p>
            <a:pPr lvl="1">
              <a:lnSpc>
                <a:spcPct val="90000"/>
              </a:lnSpc>
              <a:buFont typeface="Arial" panose="020B0604020202020204" pitchFamily="34" charset="0"/>
              <a:buNone/>
            </a:pPr>
            <a:endParaRPr lang="en-GB" altLang="en-US" sz="2000" dirty="0" smtClean="0"/>
          </a:p>
          <a:p>
            <a:pPr lvl="1">
              <a:lnSpc>
                <a:spcPct val="90000"/>
              </a:lnSpc>
            </a:pPr>
            <a:r>
              <a:rPr lang="en-GB" altLang="en-US" sz="2000" dirty="0" smtClean="0"/>
              <a:t>Declares global variables, cursors, exceptions, procedures, and functions that can be called or accessed by other program units.  </a:t>
            </a:r>
          </a:p>
          <a:p>
            <a:pPr lvl="1">
              <a:lnSpc>
                <a:spcPct val="90000"/>
              </a:lnSpc>
              <a:buFont typeface="Arial" panose="020B0604020202020204" pitchFamily="34" charset="0"/>
              <a:buNone/>
            </a:pPr>
            <a:endParaRPr lang="en-GB" altLang="en-US" sz="2000" dirty="0" smtClean="0"/>
          </a:p>
          <a:p>
            <a:pPr lvl="1">
              <a:lnSpc>
                <a:spcPct val="90000"/>
              </a:lnSpc>
            </a:pPr>
            <a:r>
              <a:rPr lang="en-GB" altLang="en-US" sz="2000" dirty="0" smtClean="0"/>
              <a:t>A package specification must be a uniquely named database object. </a:t>
            </a:r>
          </a:p>
          <a:p>
            <a:pPr lvl="1">
              <a:lnSpc>
                <a:spcPct val="80000"/>
              </a:lnSpc>
              <a:buFontTx/>
              <a:buNone/>
            </a:pPr>
            <a:endParaRPr lang="en-US" altLang="en-US" dirty="0" smtClean="0">
              <a:latin typeface="Courier New" panose="02070309020205020404" pitchFamily="49" charset="0"/>
            </a:endParaRPr>
          </a:p>
          <a:p>
            <a:pPr lvl="1">
              <a:lnSpc>
                <a:spcPct val="80000"/>
              </a:lnSpc>
              <a:buFontTx/>
              <a:buNone/>
            </a:pPr>
            <a:endParaRPr lang="en-US" altLang="en-US" dirty="0" smtClean="0"/>
          </a:p>
          <a:p>
            <a:pPr lvl="1">
              <a:lnSpc>
                <a:spcPct val="80000"/>
              </a:lnSpc>
              <a:buFontTx/>
              <a:buNone/>
            </a:pPr>
            <a:endParaRPr lang="en-US" altLang="en-US" dirty="0" smtClean="0"/>
          </a:p>
        </p:txBody>
      </p:sp>
      <p:sp>
        <p:nvSpPr>
          <p:cNvPr id="6" name="Title 4"/>
          <p:cNvSpPr>
            <a:spLocks noGrp="1"/>
          </p:cNvSpPr>
          <p:nvPr>
            <p:ph type="title" idx="4294967295"/>
          </p:nvPr>
        </p:nvSpPr>
        <p:spPr>
          <a:xfrm>
            <a:off x="0" y="139700"/>
            <a:ext cx="7564438" cy="669925"/>
          </a:xfrm>
        </p:spPr>
        <p:txBody>
          <a:bodyPr/>
          <a:lstStyle/>
          <a:p>
            <a:pPr eaLnBrk="1" hangingPunct="1"/>
            <a:r>
              <a:rPr altLang="en-US" dirty="0" smtClean="0">
                <a:solidFill>
                  <a:schemeClr val="tx1"/>
                </a:solidFill>
              </a:rPr>
              <a:t>Package Specification</a:t>
            </a:r>
          </a:p>
        </p:txBody>
      </p:sp>
    </p:spTree>
    <p:extLst>
      <p:ext uri="{BB962C8B-B14F-4D97-AF65-F5344CB8AC3E}">
        <p14:creationId xmlns:p14="http://schemas.microsoft.com/office/powerpoint/2010/main" val="367453329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2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2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2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26.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27.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28.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29.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0.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3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3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3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3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3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36.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heme/theme1.xml><?xml version="1.0" encoding="utf-8"?>
<a:theme xmlns:a="http://schemas.openxmlformats.org/drawingml/2006/main" name="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apgemini Template</Template>
  <TotalTime>3829</TotalTime>
  <Words>2128</Words>
  <Application>Microsoft Office PowerPoint</Application>
  <PresentationFormat>A4 Paper (210x297 mm)</PresentationFormat>
  <Paragraphs>375</Paragraphs>
  <Slides>37</Slides>
  <Notes>1</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37</vt:i4>
      </vt:variant>
    </vt:vector>
  </HeadingPairs>
  <TitlesOfParts>
    <vt:vector size="49" baseType="lpstr">
      <vt:lpstr>Arial</vt:lpstr>
      <vt:lpstr>Arial Narrow</vt:lpstr>
      <vt:lpstr>Calibri</vt:lpstr>
      <vt:lpstr>Courier New</vt:lpstr>
      <vt:lpstr>Helvetica Light</vt:lpstr>
      <vt:lpstr>Times New Roman</vt:lpstr>
      <vt:lpstr>Wingdings</vt:lpstr>
      <vt:lpstr>Capgemini Template</vt:lpstr>
      <vt:lpstr>Closing slides</vt:lpstr>
      <vt:lpstr>Section break</vt:lpstr>
      <vt:lpstr>1_Capgemini Template</vt:lpstr>
      <vt:lpstr>think-cell Slide</vt:lpstr>
      <vt:lpstr>Advance PL/SQL &amp;  UNIX </vt:lpstr>
      <vt:lpstr>PowerPoint Presentation</vt:lpstr>
      <vt:lpstr>Topics</vt:lpstr>
      <vt:lpstr>Topics</vt:lpstr>
      <vt:lpstr>Procedures</vt:lpstr>
      <vt:lpstr>PowerPoint Presentation</vt:lpstr>
      <vt:lpstr>Functions</vt:lpstr>
      <vt:lpstr>Packages</vt:lpstr>
      <vt:lpstr>Package Specification</vt:lpstr>
      <vt:lpstr>Package Body</vt:lpstr>
      <vt:lpstr>Cursors</vt:lpstr>
      <vt:lpstr>Cursors Attributes</vt:lpstr>
      <vt:lpstr>Implicit Cursor</vt:lpstr>
      <vt:lpstr>Explicit Cursor</vt:lpstr>
      <vt:lpstr>PowerPoint Presentation</vt:lpstr>
      <vt:lpstr>Cursor FOR LOOP</vt:lpstr>
      <vt:lpstr>Cursor FOR LOOP Example</vt:lpstr>
      <vt:lpstr>Cursor Variable(Ref Cursor)</vt:lpstr>
      <vt:lpstr>Collection</vt:lpstr>
      <vt:lpstr>Pragma Autonomous transactions </vt:lpstr>
      <vt:lpstr>Database Triggers</vt:lpstr>
      <vt:lpstr>Trigger Syntax</vt:lpstr>
      <vt:lpstr>Database Triggers</vt:lpstr>
      <vt:lpstr>Trigger Syntax</vt:lpstr>
      <vt:lpstr>Trigger Types</vt:lpstr>
      <vt:lpstr>Trigger Types</vt:lpstr>
      <vt:lpstr>Bind Variables :old and :new Defined</vt:lpstr>
      <vt:lpstr>Example</vt:lpstr>
      <vt:lpstr>Exception Handling </vt:lpstr>
      <vt:lpstr>Predefined Oracle Errors</vt:lpstr>
      <vt:lpstr>Example</vt:lpstr>
      <vt:lpstr>RAISE_APPLICATION_ERROR</vt:lpstr>
      <vt:lpstr>Exception Propagation </vt:lpstr>
      <vt:lpstr>UTL_FILE</vt:lpstr>
      <vt:lpstr> Unix shell scripting </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stomer to Cloud HCM</dc:title>
  <dc:creator>Niket Gathani</dc:creator>
  <cp:lastModifiedBy>Saswani, Sakshi</cp:lastModifiedBy>
  <cp:revision>681</cp:revision>
  <dcterms:created xsi:type="dcterms:W3CDTF">2016-01-20T17:31:08Z</dcterms:created>
  <dcterms:modified xsi:type="dcterms:W3CDTF">2017-05-30T11:32:57Z</dcterms:modified>
</cp:coreProperties>
</file>